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1"/>
    <p:sldMasterId id="2147483662" r:id="rId2"/>
    <p:sldMasterId id="2147483664" r:id="rId3"/>
    <p:sldMasterId id="2147483667" r:id="rId4"/>
    <p:sldMasterId id="2147483669" r:id="rId5"/>
  </p:sldMasterIdLst>
  <p:notesMasterIdLst>
    <p:notesMasterId r:id="rId27"/>
  </p:notesMasterIdLst>
  <p:sldIdLst>
    <p:sldId id="549" r:id="rId6"/>
    <p:sldId id="544" r:id="rId7"/>
    <p:sldId id="567" r:id="rId8"/>
    <p:sldId id="551" r:id="rId9"/>
    <p:sldId id="553" r:id="rId10"/>
    <p:sldId id="554" r:id="rId11"/>
    <p:sldId id="555" r:id="rId12"/>
    <p:sldId id="564" r:id="rId13"/>
    <p:sldId id="556" r:id="rId14"/>
    <p:sldId id="269" r:id="rId15"/>
    <p:sldId id="559" r:id="rId16"/>
    <p:sldId id="552" r:id="rId17"/>
    <p:sldId id="547" r:id="rId18"/>
    <p:sldId id="550" r:id="rId19"/>
    <p:sldId id="560" r:id="rId20"/>
    <p:sldId id="569" r:id="rId21"/>
    <p:sldId id="566" r:id="rId22"/>
    <p:sldId id="548" r:id="rId23"/>
    <p:sldId id="557" r:id="rId24"/>
    <p:sldId id="568" r:id="rId25"/>
    <p:sldId id="294" r:id="rId26"/>
  </p:sldIdLst>
  <p:sldSz cx="9144000" cy="5143500" type="screen16x9"/>
  <p:notesSz cx="6797675" cy="9926638"/>
  <p:defaultTextStyle>
    <a:defPPr>
      <a:defRPr lang="pt-BR"/>
    </a:defPPr>
    <a:lvl1pPr marL="0" algn="l" defTabSz="84899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424496" algn="l" defTabSz="84899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848990" algn="l" defTabSz="84899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273486" algn="l" defTabSz="84899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1697982" algn="l" defTabSz="84899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2122476" algn="l" defTabSz="84899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2546972" algn="l" defTabSz="84899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2971468" algn="l" defTabSz="84899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3395962" algn="l" defTabSz="84899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999"/>
    <a:srgbClr val="A0F2D7"/>
    <a:srgbClr val="00CC99"/>
    <a:srgbClr val="00E6AA"/>
    <a:srgbClr val="6FEBC2"/>
    <a:srgbClr val="71EBC2"/>
    <a:srgbClr val="35E3A9"/>
    <a:srgbClr val="00CC66"/>
    <a:srgbClr val="C2F6E5"/>
    <a:srgbClr val="61E9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98" autoAdjust="0"/>
    <p:restoredTop sz="94291" autoAdjust="0"/>
  </p:normalViewPr>
  <p:slideViewPr>
    <p:cSldViewPr>
      <p:cViewPr varScale="1">
        <p:scale>
          <a:sx n="96" d="100"/>
          <a:sy n="96" d="100"/>
        </p:scale>
        <p:origin x="816" y="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B8C7F5-A5C7-4F7F-AC3F-4C3CBDC981E0}" type="datetimeFigureOut">
              <a:rPr lang="pt-BR" smtClean="0"/>
              <a:t>09/10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905721-206B-443E-B31C-4B0CBE6D9AF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68797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5721-206B-443E-B31C-4B0CBE6D9AF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3570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905721-206B-443E-B31C-4B0CBE6D9AF7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2638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88313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58959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50602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7411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2778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hyperlink" Target="https://pt.linkedin.com/company/aegeasaneamento" TargetMode="Externa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png"/><Relationship Id="rId5" Type="http://schemas.openxmlformats.org/officeDocument/2006/relationships/hyperlink" Target="https://pt-br.facebook.com/aegeasaneamento/" TargetMode="External"/><Relationship Id="rId4" Type="http://schemas.openxmlformats.org/officeDocument/2006/relationships/image" Target="../media/image5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3999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5535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848990" rtl="0" eaLnBrk="1" latinLnBrk="0" hangingPunct="1">
        <a:spcBef>
          <a:spcPct val="0"/>
        </a:spcBef>
        <a:buNone/>
        <a:defRPr sz="4100" kern="1200">
          <a:solidFill>
            <a:schemeClr val="bg1"/>
          </a:solidFill>
          <a:latin typeface="Cabin" panose="020B0803050202020004" pitchFamily="34" charset="0"/>
          <a:ea typeface="+mj-ea"/>
          <a:cs typeface="+mj-cs"/>
        </a:defRPr>
      </a:lvl1pPr>
    </p:titleStyle>
    <p:bodyStyle>
      <a:lvl1pPr marL="318372" indent="-318372" algn="l" defTabSz="848990" rtl="0" eaLnBrk="1" latinLnBrk="0" hangingPunct="1">
        <a:spcBef>
          <a:spcPct val="2000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689805" indent="-265309" algn="l" defTabSz="84899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61239" indent="-212247" algn="l" defTabSz="8489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85733" indent="-212247" algn="l" defTabSz="848990" rtl="0" eaLnBrk="1" latinLnBrk="0" hangingPunct="1">
        <a:spcBef>
          <a:spcPct val="20000"/>
        </a:spcBef>
        <a:buFont typeface="Arial" panose="020B0604020202020204" pitchFamily="34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0229" indent="-212247" algn="l" defTabSz="848990" rtl="0" eaLnBrk="1" latinLnBrk="0" hangingPunct="1">
        <a:spcBef>
          <a:spcPct val="20000"/>
        </a:spcBef>
        <a:buFont typeface="Arial" panose="020B0604020202020204" pitchFamily="34" charset="0"/>
        <a:buChar char="»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34725" indent="-212247" algn="l" defTabSz="848990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59219" indent="-212247" algn="l" defTabSz="848990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83715" indent="-212247" algn="l" defTabSz="848990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08211" indent="-212247" algn="l" defTabSz="848990" rtl="0" eaLnBrk="1" latinLnBrk="0" hangingPunct="1">
        <a:spcBef>
          <a:spcPct val="200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4899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4496" algn="l" defTabSz="84899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48990" algn="l" defTabSz="84899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73486" algn="l" defTabSz="84899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97982" algn="l" defTabSz="84899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22476" algn="l" defTabSz="84899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46972" algn="l" defTabSz="84899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71468" algn="l" defTabSz="84899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95962" algn="l" defTabSz="84899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399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1848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D:\Users\raphael.ono\Desktop\Apresentação Lançamento\Modelo\paginas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1595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399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/>
          <p:cNvSpPr txBox="1"/>
          <p:nvPr userDrawn="1"/>
        </p:nvSpPr>
        <p:spPr>
          <a:xfrm>
            <a:off x="-1" y="4141385"/>
            <a:ext cx="9144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dirty="0">
                <a:solidFill>
                  <a:srgbClr val="253F93"/>
                </a:solidFill>
                <a:latin typeface="Cabin" panose="020B0803050202020004" pitchFamily="34" charset="0"/>
              </a:rPr>
              <a:t>Av. Brigadeiro Faria</a:t>
            </a:r>
            <a:r>
              <a:rPr lang="pt-BR" sz="1100" baseline="0" dirty="0">
                <a:solidFill>
                  <a:srgbClr val="253F93"/>
                </a:solidFill>
                <a:latin typeface="Cabin" panose="020B0803050202020004" pitchFamily="34" charset="0"/>
              </a:rPr>
              <a:t> Lima, 1.663 - 1° andar – Jardim Paulistano – São Paulo/SP – CEP 01452-001</a:t>
            </a:r>
            <a:endParaRPr lang="pt-BR" sz="1100" dirty="0">
              <a:solidFill>
                <a:srgbClr val="253F93"/>
              </a:solidFill>
              <a:latin typeface="Cabin" panose="020B0803050202020004" pitchFamily="34" charset="0"/>
            </a:endParaRPr>
          </a:p>
        </p:txBody>
      </p:sp>
      <p:grpSp>
        <p:nvGrpSpPr>
          <p:cNvPr id="5" name="Grupo 4"/>
          <p:cNvGrpSpPr/>
          <p:nvPr userDrawn="1"/>
        </p:nvGrpSpPr>
        <p:grpSpPr>
          <a:xfrm>
            <a:off x="2202282" y="4659982"/>
            <a:ext cx="5034014" cy="275017"/>
            <a:chOff x="2123728" y="4631450"/>
            <a:chExt cx="5034014" cy="275017"/>
          </a:xfrm>
        </p:grpSpPr>
        <p:grpSp>
          <p:nvGrpSpPr>
            <p:cNvPr id="3" name="Grupo 2"/>
            <p:cNvGrpSpPr/>
            <p:nvPr userDrawn="1"/>
          </p:nvGrpSpPr>
          <p:grpSpPr>
            <a:xfrm>
              <a:off x="2123728" y="4640582"/>
              <a:ext cx="2247480" cy="265885"/>
              <a:chOff x="1676448" y="4792882"/>
              <a:chExt cx="2247480" cy="265885"/>
            </a:xfrm>
          </p:grpSpPr>
          <p:pic>
            <p:nvPicPr>
              <p:cNvPr id="1027" name="Picture 3" descr="D:\Users\raphael.ono\Desktop\face.png"/>
              <p:cNvPicPr>
                <a:picLocks noChangeAspect="1" noChangeArrowheads="1"/>
              </p:cNvPicPr>
              <p:nvPr userDrawn="1"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76448" y="4803998"/>
                <a:ext cx="257569" cy="2547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" name="CaixaDeTexto 5"/>
              <p:cNvSpPr txBox="1"/>
              <p:nvPr userDrawn="1"/>
            </p:nvSpPr>
            <p:spPr>
              <a:xfrm>
                <a:off x="1907704" y="4792882"/>
                <a:ext cx="2016224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pt-BR" sz="1000" dirty="0">
                    <a:solidFill>
                      <a:srgbClr val="253F93"/>
                    </a:solidFill>
                    <a:latin typeface="Cabin" panose="020B0803050202020004" pitchFamily="34" charset="0"/>
                    <a:cs typeface="Trebuchet MS"/>
                    <a:hlinkClick r:id="rId5"/>
                  </a:rPr>
                  <a:t>facebook.com/</a:t>
                </a:r>
                <a:r>
                  <a:rPr lang="pt-BR" sz="1000" dirty="0" err="1">
                    <a:solidFill>
                      <a:srgbClr val="253F93"/>
                    </a:solidFill>
                    <a:latin typeface="Cabin" panose="020B0803050202020004" pitchFamily="34" charset="0"/>
                    <a:cs typeface="Trebuchet MS"/>
                    <a:hlinkClick r:id="rId5"/>
                  </a:rPr>
                  <a:t>aegeasaneamento</a:t>
                </a:r>
                <a:endParaRPr lang="pt-BR" sz="1000" dirty="0">
                  <a:solidFill>
                    <a:srgbClr val="253F93"/>
                  </a:solidFill>
                  <a:latin typeface="Cabin" panose="020B0803050202020004" pitchFamily="34" charset="0"/>
                  <a:cs typeface="Trebuchet MS"/>
                </a:endParaRPr>
              </a:p>
            </p:txBody>
          </p:sp>
        </p:grpSp>
        <p:grpSp>
          <p:nvGrpSpPr>
            <p:cNvPr id="4" name="Grupo 3"/>
            <p:cNvGrpSpPr/>
            <p:nvPr userDrawn="1"/>
          </p:nvGrpSpPr>
          <p:grpSpPr>
            <a:xfrm>
              <a:off x="4405488" y="4631450"/>
              <a:ext cx="2752254" cy="264484"/>
              <a:chOff x="4850629" y="4792882"/>
              <a:chExt cx="2752254" cy="264484"/>
            </a:xfrm>
          </p:grpSpPr>
          <p:pic>
            <p:nvPicPr>
              <p:cNvPr id="1026" name="Picture 2" descr="D:\Users\raphael.ono\Desktop\linkedin.png"/>
              <p:cNvPicPr>
                <a:picLocks noChangeAspect="1" noChangeArrowheads="1"/>
              </p:cNvPicPr>
              <p:nvPr userDrawn="1"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50629" y="4805397"/>
                <a:ext cx="251969" cy="2519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" name="CaixaDeTexto 6"/>
              <p:cNvSpPr txBox="1"/>
              <p:nvPr userDrawn="1"/>
            </p:nvSpPr>
            <p:spPr>
              <a:xfrm>
                <a:off x="5076056" y="4792882"/>
                <a:ext cx="252682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pt-BR" sz="1000" b="0" u="none" dirty="0">
                    <a:solidFill>
                      <a:srgbClr val="253F93"/>
                    </a:solidFill>
                    <a:latin typeface="Cabin" panose="020B0803050202020004" pitchFamily="34" charset="0"/>
                    <a:cs typeface="Trebuchet MS"/>
                    <a:hlinkClick r:id="rId7"/>
                  </a:rPr>
                  <a:t>linkedin.com/</a:t>
                </a:r>
                <a:r>
                  <a:rPr lang="pt-BR" sz="1000" b="0" u="none" dirty="0" err="1">
                    <a:solidFill>
                      <a:srgbClr val="253F93"/>
                    </a:solidFill>
                    <a:latin typeface="Cabin" panose="020B0803050202020004" pitchFamily="34" charset="0"/>
                    <a:cs typeface="Trebuchet MS"/>
                    <a:hlinkClick r:id="rId7"/>
                  </a:rPr>
                  <a:t>company</a:t>
                </a:r>
                <a:r>
                  <a:rPr lang="pt-BR" sz="1000" b="0" u="none" dirty="0">
                    <a:solidFill>
                      <a:srgbClr val="253F93"/>
                    </a:solidFill>
                    <a:latin typeface="Cabin" panose="020B0803050202020004" pitchFamily="34" charset="0"/>
                    <a:cs typeface="Trebuchet MS"/>
                    <a:hlinkClick r:id="rId7"/>
                  </a:rPr>
                  <a:t>/</a:t>
                </a:r>
                <a:r>
                  <a:rPr lang="pt-BR" sz="1000" b="0" u="none" dirty="0" err="1">
                    <a:solidFill>
                      <a:srgbClr val="253F93"/>
                    </a:solidFill>
                    <a:latin typeface="Cabin" panose="020B0803050202020004" pitchFamily="34" charset="0"/>
                    <a:cs typeface="Trebuchet MS"/>
                    <a:hlinkClick r:id="rId7"/>
                  </a:rPr>
                  <a:t>aegeasaneamento</a:t>
                </a:r>
                <a:endParaRPr lang="pt-BR" sz="1000" b="0" u="none" dirty="0">
                  <a:solidFill>
                    <a:srgbClr val="253F93"/>
                  </a:solidFill>
                  <a:latin typeface="Cabin" panose="020B0803050202020004" pitchFamily="34" charset="0"/>
                  <a:cs typeface="Trebuchet M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7449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3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" y="-9906"/>
            <a:ext cx="9161606" cy="5153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1280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jpeg"/><Relationship Id="rId7" Type="http://schemas.openxmlformats.org/officeDocument/2006/relationships/image" Target="../media/image25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jpeg"/><Relationship Id="rId11" Type="http://schemas.openxmlformats.org/officeDocument/2006/relationships/image" Target="../media/image29.jpe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hyperlink" Target="http://www.planalto.gov.br/ccivil_03/LEIS/L8987cons.htm#art23a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6" Type="http://schemas.openxmlformats.org/officeDocument/2006/relationships/hyperlink" Target="http://www.planalto.gov.br/ccivil_03/LEIS/L8987cons.htm#art23" TargetMode="External"/><Relationship Id="rId5" Type="http://schemas.openxmlformats.org/officeDocument/2006/relationships/hyperlink" Target="http://www.planalto.gov.br/ccivil_03/_Ato2004-2006/2005/Lei/L11107.htm" TargetMode="External"/><Relationship Id="rId4" Type="http://schemas.openxmlformats.org/officeDocument/2006/relationships/hyperlink" Target="http://www.planalto.gov.br/ccivil_03/_Ato2007-2010/2007/Lei/L11445.htm#art10b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ubtítulo 2"/>
          <p:cNvSpPr txBox="1">
            <a:spLocks/>
          </p:cNvSpPr>
          <p:nvPr/>
        </p:nvSpPr>
        <p:spPr>
          <a:xfrm>
            <a:off x="0" y="72008"/>
            <a:ext cx="4392488" cy="1635646"/>
          </a:xfrm>
          <a:prstGeom prst="rect">
            <a:avLst/>
          </a:prstGeom>
        </p:spPr>
        <p:txBody>
          <a:bodyPr vert="horz" lIns="84899" tIns="42449" rIns="84899" bIns="42449" rtlCol="0">
            <a:noAutofit/>
          </a:bodyPr>
          <a:lstStyle>
            <a:lvl1pPr marL="318372" indent="-318372" algn="l" defTabSz="8489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9805" indent="-265309" algn="l" defTabSz="8489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61239" indent="-212247" algn="l" defTabSz="8489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85733" indent="-212247" algn="l" defTabSz="8489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10229" indent="-212247" algn="l" defTabSz="8489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34725" indent="-212247" algn="l" defTabSz="8489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59219" indent="-212247" algn="l" defTabSz="8489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83715" indent="-212247" algn="l" defTabSz="8489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8211" indent="-212247" algn="l" defTabSz="84899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itchFamily="34" charset="0"/>
                <a:ea typeface="+mn-ea"/>
                <a:cs typeface="+mn-cs"/>
              </a:rPr>
              <a:t>O Futuro do </a:t>
            </a:r>
            <a:r>
              <a:rPr kumimoji="0" lang="pt-BR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itchFamily="34" charset="0"/>
                <a:ea typeface="+mn-ea"/>
                <a:cs typeface="+mn-cs"/>
              </a:rPr>
              <a:t>Sanamento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itchFamily="34" charset="0"/>
                <a:ea typeface="+mn-ea"/>
                <a:cs typeface="+mn-cs"/>
              </a:rPr>
              <a:t> no Brasil</a:t>
            </a:r>
            <a:b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itchFamily="34" charset="0"/>
                <a:ea typeface="+mn-ea"/>
                <a:cs typeface="+mn-cs"/>
              </a:rPr>
            </a:br>
            <a:br>
              <a:rPr kumimoji="0" lang="pt-BR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itchFamily="34" charset="0"/>
                <a:ea typeface="+mn-ea"/>
                <a:cs typeface="+mn-cs"/>
              </a:rPr>
            </a:b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itchFamily="34" charset="0"/>
                <a:ea typeface="+mn-ea"/>
                <a:cs typeface="+mn-cs"/>
              </a:rPr>
              <a:t>Rogério Tavares</a:t>
            </a:r>
          </a:p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B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7877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07935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9">
            <a:extLst>
              <a:ext uri="{FF2B5EF4-FFF2-40B4-BE49-F238E27FC236}">
                <a16:creationId xmlns:a16="http://schemas.microsoft.com/office/drawing/2014/main" id="{75FD0B1A-A42B-4561-AD12-678CCD8A9842}"/>
              </a:ext>
            </a:extLst>
          </p:cNvPr>
          <p:cNvSpPr txBox="1"/>
          <p:nvPr/>
        </p:nvSpPr>
        <p:spPr>
          <a:xfrm>
            <a:off x="-36512" y="4948594"/>
            <a:ext cx="293082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1" u="none" strike="noStrike" kern="1200" cap="none" spc="0" normalizeH="0" baseline="0" noProof="0" dirty="0">
                <a:ln>
                  <a:noFill/>
                </a:ln>
                <a:solidFill>
                  <a:srgbClr val="253F9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Fonte: </a:t>
            </a:r>
            <a:r>
              <a:rPr lang="pt-BR" sz="800" i="1" dirty="0" err="1">
                <a:solidFill>
                  <a:srgbClr val="253F93"/>
                </a:solidFill>
                <a:latin typeface="Myriad Pro"/>
              </a:rPr>
              <a:t>Snis</a:t>
            </a:r>
            <a:r>
              <a:rPr lang="pt-BR" sz="800" i="1" dirty="0">
                <a:solidFill>
                  <a:srgbClr val="253F93"/>
                </a:solidFill>
                <a:latin typeface="Myriad Pro"/>
              </a:rPr>
              <a:t> e </a:t>
            </a:r>
            <a:r>
              <a:rPr lang="pt-BR" sz="800" i="1" dirty="0" err="1">
                <a:solidFill>
                  <a:srgbClr val="253F93"/>
                </a:solidFill>
                <a:latin typeface="Myriad Pro"/>
              </a:rPr>
              <a:t>TrataBrasil</a:t>
            </a:r>
            <a:endParaRPr kumimoji="0" lang="pt-BR" sz="800" b="0" i="1" u="none" strike="noStrike" kern="1200" cap="none" spc="0" normalizeH="0" baseline="0" noProof="0" dirty="0">
              <a:ln>
                <a:noFill/>
              </a:ln>
              <a:solidFill>
                <a:srgbClr val="253F93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26697B95-E4DA-4B5D-948D-020BCA063D8D}"/>
              </a:ext>
            </a:extLst>
          </p:cNvPr>
          <p:cNvSpPr txBox="1">
            <a:spLocks/>
          </p:cNvSpPr>
          <p:nvPr/>
        </p:nvSpPr>
        <p:spPr>
          <a:xfrm>
            <a:off x="0" y="720080"/>
            <a:ext cx="9144000" cy="55552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1600" b="1" dirty="0">
                <a:solidFill>
                  <a:srgbClr val="253F93"/>
                </a:solidFill>
                <a:latin typeface="Myriad Pro"/>
              </a:rPr>
              <a:t>Cenário do Saneamento no Brasil hoje...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AE82A82A-F84C-45F3-8AAF-4C3D3C8CE828}"/>
              </a:ext>
            </a:extLst>
          </p:cNvPr>
          <p:cNvSpPr txBox="1"/>
          <p:nvPr/>
        </p:nvSpPr>
        <p:spPr>
          <a:xfrm>
            <a:off x="214635" y="1009610"/>
            <a:ext cx="31969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t-BR" sz="1000" dirty="0">
                <a:latin typeface="Myriad Pro"/>
              </a:rPr>
              <a:t>Atendimento de água</a:t>
            </a:r>
          </a:p>
        </p:txBody>
      </p:sp>
      <p:grpSp>
        <p:nvGrpSpPr>
          <p:cNvPr id="12" name="Grupo 7">
            <a:extLst>
              <a:ext uri="{FF2B5EF4-FFF2-40B4-BE49-F238E27FC236}">
                <a16:creationId xmlns:a16="http://schemas.microsoft.com/office/drawing/2014/main" id="{ABB14223-557F-4C54-8BC7-4BF6EC034708}"/>
              </a:ext>
            </a:extLst>
          </p:cNvPr>
          <p:cNvGrpSpPr/>
          <p:nvPr/>
        </p:nvGrpSpPr>
        <p:grpSpPr>
          <a:xfrm>
            <a:off x="2260349" y="1275606"/>
            <a:ext cx="1838039" cy="1766431"/>
            <a:chOff x="2260349" y="1278202"/>
            <a:chExt cx="2167635" cy="2047617"/>
          </a:xfrm>
        </p:grpSpPr>
        <p:pic>
          <p:nvPicPr>
            <p:cNvPr id="13" name="Imagem 12">
              <a:extLst>
                <a:ext uri="{FF2B5EF4-FFF2-40B4-BE49-F238E27FC236}">
                  <a16:creationId xmlns:a16="http://schemas.microsoft.com/office/drawing/2014/main" id="{09339347-E169-482A-BB2A-4CA20731C0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260349" y="1278202"/>
              <a:ext cx="2167635" cy="2047617"/>
            </a:xfrm>
            <a:prstGeom prst="rect">
              <a:avLst/>
            </a:prstGeom>
          </p:spPr>
        </p:pic>
        <p:sp>
          <p:nvSpPr>
            <p:cNvPr id="14" name="Text Box 15">
              <a:extLst>
                <a:ext uri="{FF2B5EF4-FFF2-40B4-BE49-F238E27FC236}">
                  <a16:creationId xmlns:a16="http://schemas.microsoft.com/office/drawing/2014/main" id="{689A981A-C774-419B-99DB-21E2679C39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76859" y="1711056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57%</a:t>
              </a:r>
            </a:p>
          </p:txBody>
        </p:sp>
        <p:sp>
          <p:nvSpPr>
            <p:cNvPr id="15" name="Text Box 15">
              <a:extLst>
                <a:ext uri="{FF2B5EF4-FFF2-40B4-BE49-F238E27FC236}">
                  <a16:creationId xmlns:a16="http://schemas.microsoft.com/office/drawing/2014/main" id="{60B6818D-BB0D-4E34-A313-C916769901E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76396" y="2004669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73%</a:t>
              </a:r>
            </a:p>
          </p:txBody>
        </p:sp>
        <p:sp>
          <p:nvSpPr>
            <p:cNvPr id="16" name="Text Box 15">
              <a:extLst>
                <a:ext uri="{FF2B5EF4-FFF2-40B4-BE49-F238E27FC236}">
                  <a16:creationId xmlns:a16="http://schemas.microsoft.com/office/drawing/2014/main" id="{35364D0F-9C43-49E1-90D3-A60CC5C9784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26292" y="2598795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91%</a:t>
              </a:r>
            </a:p>
          </p:txBody>
        </p:sp>
        <p:sp>
          <p:nvSpPr>
            <p:cNvPr id="17" name="Text Box 15">
              <a:extLst>
                <a:ext uri="{FF2B5EF4-FFF2-40B4-BE49-F238E27FC236}">
                  <a16:creationId xmlns:a16="http://schemas.microsoft.com/office/drawing/2014/main" id="{FFF4C0B2-2C37-49DB-B4D2-0501B96CAD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64166" y="2306506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90%</a:t>
              </a:r>
            </a:p>
          </p:txBody>
        </p:sp>
        <p:sp>
          <p:nvSpPr>
            <p:cNvPr id="18" name="Text Box 15">
              <a:extLst>
                <a:ext uri="{FF2B5EF4-FFF2-40B4-BE49-F238E27FC236}">
                  <a16:creationId xmlns:a16="http://schemas.microsoft.com/office/drawing/2014/main" id="{593F55C1-0851-4F63-99EB-A5F5E627CE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36859" y="2947218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89%</a:t>
              </a:r>
            </a:p>
          </p:txBody>
        </p:sp>
      </p:grp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EBA61B8D-31EE-4029-8743-07703C7B98D5}"/>
              </a:ext>
            </a:extLst>
          </p:cNvPr>
          <p:cNvCxnSpPr>
            <a:cxnSpLocks/>
          </p:cNvCxnSpPr>
          <p:nvPr/>
        </p:nvCxnSpPr>
        <p:spPr>
          <a:xfrm>
            <a:off x="286048" y="1295219"/>
            <a:ext cx="3402391" cy="0"/>
          </a:xfrm>
          <a:prstGeom prst="line">
            <a:avLst/>
          </a:prstGeom>
          <a:ln w="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47A63ED6-1E8B-4A79-89B2-3F084B740391}"/>
              </a:ext>
            </a:extLst>
          </p:cNvPr>
          <p:cNvCxnSpPr>
            <a:cxnSpLocks/>
          </p:cNvCxnSpPr>
          <p:nvPr/>
        </p:nvCxnSpPr>
        <p:spPr>
          <a:xfrm>
            <a:off x="4449383" y="1294899"/>
            <a:ext cx="3402391" cy="0"/>
          </a:xfrm>
          <a:prstGeom prst="line">
            <a:avLst/>
          </a:prstGeom>
          <a:ln w="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3AE8CFB6-7DA7-44A0-9C34-AA73AAE5D179}"/>
              </a:ext>
            </a:extLst>
          </p:cNvPr>
          <p:cNvSpPr txBox="1"/>
          <p:nvPr/>
        </p:nvSpPr>
        <p:spPr>
          <a:xfrm>
            <a:off x="4377375" y="997513"/>
            <a:ext cx="33657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t-BR" sz="1000" dirty="0">
                <a:latin typeface="Myriad Pro"/>
              </a:rPr>
              <a:t>Perdas de água</a:t>
            </a:r>
          </a:p>
        </p:txBody>
      </p:sp>
      <p:grpSp>
        <p:nvGrpSpPr>
          <p:cNvPr id="22" name="Grupo 8">
            <a:extLst>
              <a:ext uri="{FF2B5EF4-FFF2-40B4-BE49-F238E27FC236}">
                <a16:creationId xmlns:a16="http://schemas.microsoft.com/office/drawing/2014/main" id="{1C766E8F-E297-4231-A0CC-5268AEA80883}"/>
              </a:ext>
            </a:extLst>
          </p:cNvPr>
          <p:cNvGrpSpPr/>
          <p:nvPr/>
        </p:nvGrpSpPr>
        <p:grpSpPr>
          <a:xfrm>
            <a:off x="6386204" y="1275606"/>
            <a:ext cx="1838039" cy="1766431"/>
            <a:chOff x="6724845" y="1309375"/>
            <a:chExt cx="2167635" cy="2047617"/>
          </a:xfrm>
        </p:grpSpPr>
        <p:pic>
          <p:nvPicPr>
            <p:cNvPr id="23" name="Imagem 22">
              <a:extLst>
                <a:ext uri="{FF2B5EF4-FFF2-40B4-BE49-F238E27FC236}">
                  <a16:creationId xmlns:a16="http://schemas.microsoft.com/office/drawing/2014/main" id="{DA9A69F1-AF56-4C46-8362-7FBBED742C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724845" y="1309375"/>
              <a:ext cx="2167635" cy="2047617"/>
            </a:xfrm>
            <a:prstGeom prst="rect">
              <a:avLst/>
            </a:prstGeom>
          </p:spPr>
        </p:pic>
        <p:sp>
          <p:nvSpPr>
            <p:cNvPr id="24" name="Text Box 15">
              <a:extLst>
                <a:ext uri="{FF2B5EF4-FFF2-40B4-BE49-F238E27FC236}">
                  <a16:creationId xmlns:a16="http://schemas.microsoft.com/office/drawing/2014/main" id="{F1352ABA-9519-405F-9B7F-DED3E7DF8AB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33401" y="1742229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47%</a:t>
              </a:r>
            </a:p>
          </p:txBody>
        </p:sp>
        <p:sp>
          <p:nvSpPr>
            <p:cNvPr id="25" name="Text Box 15">
              <a:extLst>
                <a:ext uri="{FF2B5EF4-FFF2-40B4-BE49-F238E27FC236}">
                  <a16:creationId xmlns:a16="http://schemas.microsoft.com/office/drawing/2014/main" id="{5D8BEA05-B726-4B7F-95A2-A28D6117A27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32938" y="2035842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46%</a:t>
              </a:r>
            </a:p>
          </p:txBody>
        </p:sp>
        <p:sp>
          <p:nvSpPr>
            <p:cNvPr id="26" name="Text Box 15">
              <a:extLst>
                <a:ext uri="{FF2B5EF4-FFF2-40B4-BE49-F238E27FC236}">
                  <a16:creationId xmlns:a16="http://schemas.microsoft.com/office/drawing/2014/main" id="{E365B7C7-3B5A-4CDB-B406-B102B36D1C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82834" y="2629968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34%</a:t>
              </a:r>
            </a:p>
          </p:txBody>
        </p:sp>
        <p:sp>
          <p:nvSpPr>
            <p:cNvPr id="27" name="Text Box 15">
              <a:extLst>
                <a:ext uri="{FF2B5EF4-FFF2-40B4-BE49-F238E27FC236}">
                  <a16:creationId xmlns:a16="http://schemas.microsoft.com/office/drawing/2014/main" id="{9E92BFF5-0173-4126-8E92-B247FCE74D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94229" y="3001388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36%</a:t>
              </a:r>
            </a:p>
          </p:txBody>
        </p:sp>
        <p:sp>
          <p:nvSpPr>
            <p:cNvPr id="28" name="Text Box 15">
              <a:extLst>
                <a:ext uri="{FF2B5EF4-FFF2-40B4-BE49-F238E27FC236}">
                  <a16:creationId xmlns:a16="http://schemas.microsoft.com/office/drawing/2014/main" id="{F62D9D70-7604-4B5C-9185-85A2E1E987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16686" y="2370211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35%</a:t>
              </a:r>
            </a:p>
          </p:txBody>
        </p:sp>
      </p:grpSp>
      <p:sp>
        <p:nvSpPr>
          <p:cNvPr id="29" name="CaixaDeTexto 7">
            <a:extLst>
              <a:ext uri="{FF2B5EF4-FFF2-40B4-BE49-F238E27FC236}">
                <a16:creationId xmlns:a16="http://schemas.microsoft.com/office/drawing/2014/main" id="{FF398666-0BB2-413A-B513-413F3E8E8B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249" y="1276708"/>
            <a:ext cx="185820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9pPr>
          </a:lstStyle>
          <a:p>
            <a:pPr marL="72000" indent="-72000" eaLnBrk="1" hangingPunct="1">
              <a:buFont typeface="Arial" pitchFamily="34" charset="0"/>
              <a:buChar char="•"/>
            </a:pPr>
            <a:r>
              <a:rPr lang="pt-BR" sz="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Myriad Pro"/>
              </a:rPr>
              <a:t>O atendimento não implica a disponibilidade de água; apenas a infraestrutura física necessária         para o abastecimento</a:t>
            </a:r>
          </a:p>
        </p:txBody>
      </p:sp>
      <p:sp>
        <p:nvSpPr>
          <p:cNvPr id="30" name="CaixaDeTexto 7">
            <a:extLst>
              <a:ext uri="{FF2B5EF4-FFF2-40B4-BE49-F238E27FC236}">
                <a16:creationId xmlns:a16="http://schemas.microsoft.com/office/drawing/2014/main" id="{DE8AB0C5-6543-477F-90B6-C2325DD9DA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26858" y="1299448"/>
            <a:ext cx="176549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9pPr>
          </a:lstStyle>
          <a:p>
            <a:pPr marL="72000" indent="-72000" eaLnBrk="1" hangingPunct="1">
              <a:buFont typeface="Arial" pitchFamily="34" charset="0"/>
              <a:buChar char="•"/>
            </a:pPr>
            <a:r>
              <a:rPr lang="pt-BR" sz="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Myriad Pro"/>
              </a:rPr>
              <a:t>Volumes produzidos, mas não disponibilizados.</a:t>
            </a:r>
          </a:p>
          <a:p>
            <a:pPr marL="72000" indent="-72000" eaLnBrk="1" hangingPunct="1">
              <a:buFont typeface="Arial" pitchFamily="34" charset="0"/>
              <a:buChar char="•"/>
            </a:pPr>
            <a:endParaRPr lang="pt-BR" sz="800" b="0" dirty="0">
              <a:solidFill>
                <a:schemeClr val="tx1">
                  <a:lumMod val="75000"/>
                  <a:lumOff val="25000"/>
                </a:schemeClr>
              </a:solidFill>
              <a:latin typeface="Myriad Pro"/>
            </a:endParaRPr>
          </a:p>
          <a:p>
            <a:pPr marL="72000" indent="-72000" eaLnBrk="1" hangingPunct="1">
              <a:buFont typeface="Arial" pitchFamily="34" charset="0"/>
              <a:buChar char="•"/>
            </a:pPr>
            <a:r>
              <a:rPr lang="pt-BR" sz="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Myriad Pro"/>
              </a:rPr>
              <a:t>Causas: vazamentos em adutoras, redes, ramais, conexões, reservatórios, etc.</a:t>
            </a:r>
          </a:p>
        </p:txBody>
      </p:sp>
      <p:grpSp>
        <p:nvGrpSpPr>
          <p:cNvPr id="31" name="Grupo 6">
            <a:extLst>
              <a:ext uri="{FF2B5EF4-FFF2-40B4-BE49-F238E27FC236}">
                <a16:creationId xmlns:a16="http://schemas.microsoft.com/office/drawing/2014/main" id="{D3EADF54-0BF5-49A4-82DB-E38E6773E909}"/>
              </a:ext>
            </a:extLst>
          </p:cNvPr>
          <p:cNvGrpSpPr/>
          <p:nvPr/>
        </p:nvGrpSpPr>
        <p:grpSpPr>
          <a:xfrm>
            <a:off x="261912" y="2067694"/>
            <a:ext cx="2059618" cy="325272"/>
            <a:chOff x="261911" y="2475886"/>
            <a:chExt cx="2428947" cy="377050"/>
          </a:xfrm>
        </p:grpSpPr>
        <p:grpSp>
          <p:nvGrpSpPr>
            <p:cNvPr id="32" name="Grupo 3">
              <a:extLst>
                <a:ext uri="{FF2B5EF4-FFF2-40B4-BE49-F238E27FC236}">
                  <a16:creationId xmlns:a16="http://schemas.microsoft.com/office/drawing/2014/main" id="{7A103238-E92F-46E7-A2D0-6C9A6B3EA512}"/>
                </a:ext>
              </a:extLst>
            </p:cNvPr>
            <p:cNvGrpSpPr/>
            <p:nvPr/>
          </p:nvGrpSpPr>
          <p:grpSpPr>
            <a:xfrm>
              <a:off x="323528" y="2672936"/>
              <a:ext cx="2367330" cy="180000"/>
              <a:chOff x="323528" y="3321008"/>
              <a:chExt cx="2367330" cy="180000"/>
            </a:xfrm>
          </p:grpSpPr>
          <p:sp>
            <p:nvSpPr>
              <p:cNvPr id="34" name="Text Box 15">
                <a:extLst>
                  <a:ext uri="{FF2B5EF4-FFF2-40B4-BE49-F238E27FC236}">
                    <a16:creationId xmlns:a16="http://schemas.microsoft.com/office/drawing/2014/main" id="{97AEE8C6-17C5-4A44-8EE2-A52D4D270F2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23528" y="3321008"/>
                <a:ext cx="360000" cy="180000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>
                <a:noAutofit/>
              </a:bodyPr>
              <a:lstStyle/>
              <a:p>
                <a:pPr algn="ctr" eaLnBrk="0" hangingPunct="0"/>
                <a:r>
                  <a:rPr lang="pt-BR" altLang="pt-BR" sz="800" b="1" dirty="0">
                    <a:latin typeface="Myriad Pro"/>
                  </a:rPr>
                  <a:t>83%</a:t>
                </a:r>
              </a:p>
            </p:txBody>
          </p:sp>
          <p:sp>
            <p:nvSpPr>
              <p:cNvPr id="35" name="Text Box 15">
                <a:extLst>
                  <a:ext uri="{FF2B5EF4-FFF2-40B4-BE49-F238E27FC236}">
                    <a16:creationId xmlns:a16="http://schemas.microsoft.com/office/drawing/2014/main" id="{0F8E013D-2457-4C18-85F5-01B8B53CD9A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31709" y="3321008"/>
                <a:ext cx="2059149" cy="17999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none" anchor="ctr">
                <a:noAutofit/>
              </a:bodyPr>
              <a:lstStyle/>
              <a:p>
                <a:pPr eaLnBrk="0" hangingPunct="0"/>
                <a:r>
                  <a:rPr lang="pt-BR" altLang="pt-BR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yriad Pro"/>
                  </a:rPr>
                  <a:t>Atendimento -Total</a:t>
                </a:r>
              </a:p>
            </p:txBody>
          </p:sp>
        </p:grpSp>
        <p:sp>
          <p:nvSpPr>
            <p:cNvPr id="33" name="Text Box 15">
              <a:extLst>
                <a:ext uri="{FF2B5EF4-FFF2-40B4-BE49-F238E27FC236}">
                  <a16:creationId xmlns:a16="http://schemas.microsoft.com/office/drawing/2014/main" id="{C13EA9B8-9916-4A14-A4E6-BC6156FDBE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1911" y="2475886"/>
              <a:ext cx="468741" cy="180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eaLnBrk="0" hangingPunct="0"/>
              <a:r>
                <a:rPr lang="pt-BR" altLang="pt-BR" sz="800" b="1" dirty="0">
                  <a:latin typeface="Myriad Pro"/>
                </a:rPr>
                <a:t>Brasil</a:t>
              </a:r>
            </a:p>
          </p:txBody>
        </p:sp>
      </p:grpSp>
      <p:grpSp>
        <p:nvGrpSpPr>
          <p:cNvPr id="36" name="Grupo 5">
            <a:extLst>
              <a:ext uri="{FF2B5EF4-FFF2-40B4-BE49-F238E27FC236}">
                <a16:creationId xmlns:a16="http://schemas.microsoft.com/office/drawing/2014/main" id="{3B89A643-9C15-4374-BA8D-9B9981D58FA4}"/>
              </a:ext>
            </a:extLst>
          </p:cNvPr>
          <p:cNvGrpSpPr/>
          <p:nvPr/>
        </p:nvGrpSpPr>
        <p:grpSpPr>
          <a:xfrm>
            <a:off x="4493206" y="2139702"/>
            <a:ext cx="2344139" cy="325272"/>
            <a:chOff x="4831847" y="2475886"/>
            <a:chExt cx="2764489" cy="377050"/>
          </a:xfrm>
        </p:grpSpPr>
        <p:grpSp>
          <p:nvGrpSpPr>
            <p:cNvPr id="37" name="Grupo 4">
              <a:extLst>
                <a:ext uri="{FF2B5EF4-FFF2-40B4-BE49-F238E27FC236}">
                  <a16:creationId xmlns:a16="http://schemas.microsoft.com/office/drawing/2014/main" id="{2538BD49-7F9C-4F1E-8E9B-9B5E06DAD323}"/>
                </a:ext>
              </a:extLst>
            </p:cNvPr>
            <p:cNvGrpSpPr/>
            <p:nvPr/>
          </p:nvGrpSpPr>
          <p:grpSpPr>
            <a:xfrm>
              <a:off x="4893465" y="2672936"/>
              <a:ext cx="2702871" cy="180000"/>
              <a:chOff x="4893465" y="3144021"/>
              <a:chExt cx="2702871" cy="180000"/>
            </a:xfrm>
          </p:grpSpPr>
          <p:sp>
            <p:nvSpPr>
              <p:cNvPr id="39" name="Text Box 15">
                <a:extLst>
                  <a:ext uri="{FF2B5EF4-FFF2-40B4-BE49-F238E27FC236}">
                    <a16:creationId xmlns:a16="http://schemas.microsoft.com/office/drawing/2014/main" id="{409C5E3A-443B-4C26-8D98-B1BBC2B05C6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893465" y="3144021"/>
                <a:ext cx="360000" cy="180000"/>
              </a:xfrm>
              <a:prstGeom prst="rect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wrap="none" anchor="ctr">
                <a:noAutofit/>
              </a:bodyPr>
              <a:lstStyle/>
              <a:p>
                <a:pPr algn="ctr" eaLnBrk="0" hangingPunct="0"/>
                <a:r>
                  <a:rPr lang="pt-BR" altLang="pt-BR" sz="800" b="1" dirty="0">
                    <a:latin typeface="Myriad Pro"/>
                  </a:rPr>
                  <a:t>38%</a:t>
                </a:r>
              </a:p>
            </p:txBody>
          </p:sp>
          <p:sp>
            <p:nvSpPr>
              <p:cNvPr id="40" name="Text Box 15">
                <a:extLst>
                  <a:ext uri="{FF2B5EF4-FFF2-40B4-BE49-F238E27FC236}">
                    <a16:creationId xmlns:a16="http://schemas.microsoft.com/office/drawing/2014/main" id="{666F1FB2-2C0C-4FA2-BB4E-701972A5E08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201645" y="3144021"/>
                <a:ext cx="2394691" cy="16768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wrap="none" anchor="ctr">
                <a:noAutofit/>
              </a:bodyPr>
              <a:lstStyle/>
              <a:p>
                <a:pPr eaLnBrk="0" hangingPunct="0"/>
                <a:r>
                  <a:rPr lang="pt-BR" altLang="pt-BR" sz="8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yriad Pro"/>
                  </a:rPr>
                  <a:t>Perdas de Água – (m³)</a:t>
                </a:r>
              </a:p>
            </p:txBody>
          </p:sp>
        </p:grpSp>
        <p:sp>
          <p:nvSpPr>
            <p:cNvPr id="38" name="Text Box 15">
              <a:extLst>
                <a:ext uri="{FF2B5EF4-FFF2-40B4-BE49-F238E27FC236}">
                  <a16:creationId xmlns:a16="http://schemas.microsoft.com/office/drawing/2014/main" id="{191C6E47-9154-407F-8BCC-A8D609A83D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31847" y="2475886"/>
              <a:ext cx="468741" cy="180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eaLnBrk="0" hangingPunct="0"/>
              <a:r>
                <a:rPr lang="pt-BR" altLang="pt-BR" sz="800" b="1" dirty="0">
                  <a:latin typeface="Myriad Pro"/>
                </a:rPr>
                <a:t>Brasil</a:t>
              </a:r>
            </a:p>
          </p:txBody>
        </p:sp>
      </p:grpSp>
      <p:sp>
        <p:nvSpPr>
          <p:cNvPr id="41" name="CaixaDeTexto 7">
            <a:extLst>
              <a:ext uri="{FF2B5EF4-FFF2-40B4-BE49-F238E27FC236}">
                <a16:creationId xmlns:a16="http://schemas.microsoft.com/office/drawing/2014/main" id="{7DADB20F-A77E-4657-A189-D85E8E852C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45104" y="3291830"/>
            <a:ext cx="181284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9pPr>
          </a:lstStyle>
          <a:p>
            <a:pPr marL="72000" indent="-72000" eaLnBrk="1" hangingPunct="1">
              <a:buFont typeface="Arial" pitchFamily="34" charset="0"/>
              <a:buChar char="•"/>
            </a:pPr>
            <a:r>
              <a:rPr lang="pt-BR" sz="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Myriad Pro"/>
              </a:rPr>
              <a:t>O esgoto coletado mas não tratado é destinado in natura nos recursos </a:t>
            </a:r>
          </a:p>
          <a:p>
            <a:pPr marL="72000" eaLnBrk="1" hangingPunct="1"/>
            <a:r>
              <a:rPr lang="pt-BR" sz="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Myriad Pro"/>
              </a:rPr>
              <a:t>hídricos</a:t>
            </a:r>
          </a:p>
          <a:p>
            <a:pPr marL="72000" indent="-72000" eaLnBrk="1" hangingPunct="1">
              <a:buFont typeface="Arial" pitchFamily="34" charset="0"/>
              <a:buChar char="•"/>
            </a:pPr>
            <a:endParaRPr lang="pt-BR" sz="800" b="0" dirty="0">
              <a:solidFill>
                <a:schemeClr val="tx1">
                  <a:lumMod val="75000"/>
                  <a:lumOff val="25000"/>
                </a:schemeClr>
              </a:solidFill>
              <a:latin typeface="Myriad Pro"/>
            </a:endParaRP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584F2CB1-62D8-42B0-AD40-CF8B0A3F8F4B}"/>
              </a:ext>
            </a:extLst>
          </p:cNvPr>
          <p:cNvSpPr txBox="1"/>
          <p:nvPr/>
        </p:nvSpPr>
        <p:spPr>
          <a:xfrm>
            <a:off x="4355976" y="2999387"/>
            <a:ext cx="33657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t-BR" sz="1000" dirty="0">
                <a:latin typeface="Myriad Pro"/>
              </a:rPr>
              <a:t>Tratamento de esgoto (% de volume gerado)</a:t>
            </a:r>
          </a:p>
        </p:txBody>
      </p:sp>
      <p:sp>
        <p:nvSpPr>
          <p:cNvPr id="43" name="CaixaDeTexto 42">
            <a:extLst>
              <a:ext uri="{FF2B5EF4-FFF2-40B4-BE49-F238E27FC236}">
                <a16:creationId xmlns:a16="http://schemas.microsoft.com/office/drawing/2014/main" id="{D7B33880-9035-4D3F-9758-50800F55DA56}"/>
              </a:ext>
            </a:extLst>
          </p:cNvPr>
          <p:cNvSpPr txBox="1"/>
          <p:nvPr/>
        </p:nvSpPr>
        <p:spPr>
          <a:xfrm>
            <a:off x="202920" y="2999387"/>
            <a:ext cx="33657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t-BR" sz="1000" dirty="0">
                <a:latin typeface="Myriad Pro"/>
              </a:rPr>
              <a:t>Coleta de esgoto (% de população)</a:t>
            </a:r>
          </a:p>
        </p:txBody>
      </p:sp>
      <p:grpSp>
        <p:nvGrpSpPr>
          <p:cNvPr id="44" name="Grupo 10">
            <a:extLst>
              <a:ext uri="{FF2B5EF4-FFF2-40B4-BE49-F238E27FC236}">
                <a16:creationId xmlns:a16="http://schemas.microsoft.com/office/drawing/2014/main" id="{0FF945CF-9AF3-49B6-8823-70AA7423B5F8}"/>
              </a:ext>
            </a:extLst>
          </p:cNvPr>
          <p:cNvGrpSpPr/>
          <p:nvPr/>
        </p:nvGrpSpPr>
        <p:grpSpPr>
          <a:xfrm>
            <a:off x="2260349" y="3330122"/>
            <a:ext cx="1838039" cy="1766431"/>
            <a:chOff x="2260349" y="4135098"/>
            <a:chExt cx="2167635" cy="2047617"/>
          </a:xfrm>
        </p:grpSpPr>
        <p:pic>
          <p:nvPicPr>
            <p:cNvPr id="45" name="Imagem 44">
              <a:extLst>
                <a:ext uri="{FF2B5EF4-FFF2-40B4-BE49-F238E27FC236}">
                  <a16:creationId xmlns:a16="http://schemas.microsoft.com/office/drawing/2014/main" id="{C66683A0-01E2-470A-BA15-CF7C45E30B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260349" y="4135098"/>
              <a:ext cx="2167635" cy="2047617"/>
            </a:xfrm>
            <a:prstGeom prst="rect">
              <a:avLst/>
            </a:prstGeom>
          </p:spPr>
        </p:pic>
        <p:sp>
          <p:nvSpPr>
            <p:cNvPr id="46" name="Text Box 15">
              <a:extLst>
                <a:ext uri="{FF2B5EF4-FFF2-40B4-BE49-F238E27FC236}">
                  <a16:creationId xmlns:a16="http://schemas.microsoft.com/office/drawing/2014/main" id="{19C8A8BB-5286-43A5-9F02-8B2DEADF2DC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76396" y="4690348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26%</a:t>
              </a:r>
            </a:p>
          </p:txBody>
        </p:sp>
        <p:sp>
          <p:nvSpPr>
            <p:cNvPr id="47" name="Text Box 15">
              <a:extLst>
                <a:ext uri="{FF2B5EF4-FFF2-40B4-BE49-F238E27FC236}">
                  <a16:creationId xmlns:a16="http://schemas.microsoft.com/office/drawing/2014/main" id="{CD40CC4A-2366-429A-8467-8344E754B6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35936" y="5276518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79%</a:t>
              </a:r>
            </a:p>
          </p:txBody>
        </p:sp>
        <p:sp>
          <p:nvSpPr>
            <p:cNvPr id="48" name="Text Box 15">
              <a:extLst>
                <a:ext uri="{FF2B5EF4-FFF2-40B4-BE49-F238E27FC236}">
                  <a16:creationId xmlns:a16="http://schemas.microsoft.com/office/drawing/2014/main" id="{F4D7AB88-86EA-4CE2-906C-2F95D1DEB28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37687" y="5668544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42%</a:t>
              </a:r>
            </a:p>
          </p:txBody>
        </p:sp>
        <p:sp>
          <p:nvSpPr>
            <p:cNvPr id="49" name="Text Box 15">
              <a:extLst>
                <a:ext uri="{FF2B5EF4-FFF2-40B4-BE49-F238E27FC236}">
                  <a16:creationId xmlns:a16="http://schemas.microsoft.com/office/drawing/2014/main" id="{1E2721B3-CC8F-4FD8-A17C-26117A7E6D2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60144" y="5010471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51%</a:t>
              </a:r>
            </a:p>
          </p:txBody>
        </p:sp>
        <p:sp>
          <p:nvSpPr>
            <p:cNvPr id="50" name="Text Box 15">
              <a:extLst>
                <a:ext uri="{FF2B5EF4-FFF2-40B4-BE49-F238E27FC236}">
                  <a16:creationId xmlns:a16="http://schemas.microsoft.com/office/drawing/2014/main" id="{40C16FB6-DBD2-491D-BB02-F0E8BAB12BB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76859" y="4400463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10%</a:t>
              </a:r>
            </a:p>
          </p:txBody>
        </p:sp>
      </p:grpSp>
      <p:grpSp>
        <p:nvGrpSpPr>
          <p:cNvPr id="51" name="Grupo 9">
            <a:extLst>
              <a:ext uri="{FF2B5EF4-FFF2-40B4-BE49-F238E27FC236}">
                <a16:creationId xmlns:a16="http://schemas.microsoft.com/office/drawing/2014/main" id="{0B0D5B34-5E54-4DF8-8E1E-3483446DA5E0}"/>
              </a:ext>
            </a:extLst>
          </p:cNvPr>
          <p:cNvGrpSpPr/>
          <p:nvPr/>
        </p:nvGrpSpPr>
        <p:grpSpPr>
          <a:xfrm>
            <a:off x="6499776" y="3330122"/>
            <a:ext cx="1838039" cy="1766431"/>
            <a:chOff x="6838417" y="4135098"/>
            <a:chExt cx="2167635" cy="2047617"/>
          </a:xfrm>
        </p:grpSpPr>
        <p:pic>
          <p:nvPicPr>
            <p:cNvPr id="52" name="Imagem 51">
              <a:extLst>
                <a:ext uri="{FF2B5EF4-FFF2-40B4-BE49-F238E27FC236}">
                  <a16:creationId xmlns:a16="http://schemas.microsoft.com/office/drawing/2014/main" id="{CF684698-5D60-46F9-A810-F5266B711A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838417" y="4135098"/>
              <a:ext cx="2167635" cy="2047617"/>
            </a:xfrm>
            <a:prstGeom prst="rect">
              <a:avLst/>
            </a:prstGeom>
          </p:spPr>
        </p:pic>
        <p:sp>
          <p:nvSpPr>
            <p:cNvPr id="58" name="Text Box 15">
              <a:extLst>
                <a:ext uri="{FF2B5EF4-FFF2-40B4-BE49-F238E27FC236}">
                  <a16:creationId xmlns:a16="http://schemas.microsoft.com/office/drawing/2014/main" id="{9306BDBE-913A-4327-A3C3-4539573A59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61203" y="4567952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18%</a:t>
              </a:r>
            </a:p>
          </p:txBody>
        </p:sp>
        <p:sp>
          <p:nvSpPr>
            <p:cNvPr id="59" name="Text Box 15">
              <a:extLst>
                <a:ext uri="{FF2B5EF4-FFF2-40B4-BE49-F238E27FC236}">
                  <a16:creationId xmlns:a16="http://schemas.microsoft.com/office/drawing/2014/main" id="{68D5F6C8-146B-426B-9CE6-DE21FE4543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60740" y="4861565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36%</a:t>
              </a:r>
            </a:p>
          </p:txBody>
        </p:sp>
        <p:sp>
          <p:nvSpPr>
            <p:cNvPr id="60" name="Text Box 15">
              <a:extLst>
                <a:ext uri="{FF2B5EF4-FFF2-40B4-BE49-F238E27FC236}">
                  <a16:creationId xmlns:a16="http://schemas.microsoft.com/office/drawing/2014/main" id="{F9B278F5-B8CA-4916-A2A3-909128D6975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210636" y="5455691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49%</a:t>
              </a:r>
            </a:p>
          </p:txBody>
        </p:sp>
        <p:sp>
          <p:nvSpPr>
            <p:cNvPr id="61" name="Text Box 15">
              <a:extLst>
                <a:ext uri="{FF2B5EF4-FFF2-40B4-BE49-F238E27FC236}">
                  <a16:creationId xmlns:a16="http://schemas.microsoft.com/office/drawing/2014/main" id="{00ECD5C2-6BA2-4E73-8FF1-D3278D1ACC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22031" y="5827111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44%</a:t>
              </a:r>
            </a:p>
          </p:txBody>
        </p:sp>
        <p:sp>
          <p:nvSpPr>
            <p:cNvPr id="62" name="Text Box 15">
              <a:extLst>
                <a:ext uri="{FF2B5EF4-FFF2-40B4-BE49-F238E27FC236}">
                  <a16:creationId xmlns:a16="http://schemas.microsoft.com/office/drawing/2014/main" id="{81D405C9-95DA-4805-BC5F-6BA8DA16AC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44488" y="5195934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52%</a:t>
              </a:r>
            </a:p>
          </p:txBody>
        </p:sp>
      </p:grpSp>
      <p:cxnSp>
        <p:nvCxnSpPr>
          <p:cNvPr id="63" name="Conector reto 62">
            <a:extLst>
              <a:ext uri="{FF2B5EF4-FFF2-40B4-BE49-F238E27FC236}">
                <a16:creationId xmlns:a16="http://schemas.microsoft.com/office/drawing/2014/main" id="{99B7EC20-62EE-4509-BF07-A483252F7A0A}"/>
              </a:ext>
            </a:extLst>
          </p:cNvPr>
          <p:cNvCxnSpPr>
            <a:cxnSpLocks/>
          </p:cNvCxnSpPr>
          <p:nvPr/>
        </p:nvCxnSpPr>
        <p:spPr>
          <a:xfrm>
            <a:off x="286048" y="3298529"/>
            <a:ext cx="3402391" cy="0"/>
          </a:xfrm>
          <a:prstGeom prst="line">
            <a:avLst/>
          </a:prstGeom>
          <a:ln w="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to 63">
            <a:extLst>
              <a:ext uri="{FF2B5EF4-FFF2-40B4-BE49-F238E27FC236}">
                <a16:creationId xmlns:a16="http://schemas.microsoft.com/office/drawing/2014/main" id="{8EBCC19B-288C-4BE1-9366-2ABCE444806B}"/>
              </a:ext>
            </a:extLst>
          </p:cNvPr>
          <p:cNvCxnSpPr>
            <a:cxnSpLocks/>
          </p:cNvCxnSpPr>
          <p:nvPr/>
        </p:nvCxnSpPr>
        <p:spPr>
          <a:xfrm>
            <a:off x="4449383" y="3298529"/>
            <a:ext cx="3402391" cy="0"/>
          </a:xfrm>
          <a:prstGeom prst="line">
            <a:avLst/>
          </a:prstGeom>
          <a:ln w="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CaixaDeTexto 7">
            <a:extLst>
              <a:ext uri="{FF2B5EF4-FFF2-40B4-BE49-F238E27FC236}">
                <a16:creationId xmlns:a16="http://schemas.microsoft.com/office/drawing/2014/main" id="{851A1275-379D-4946-B62F-59FAB7369A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249" y="3291830"/>
            <a:ext cx="1921466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>
            <a:spAutoFit/>
          </a:bodyPr>
          <a:lstStyle>
            <a:lvl1pPr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 b="1">
                <a:solidFill>
                  <a:srgbClr val="003366"/>
                </a:solidFill>
                <a:latin typeface="Tahoma" pitchFamily="34" charset="0"/>
                <a:cs typeface="Arial" charset="0"/>
              </a:defRPr>
            </a:lvl9pPr>
          </a:lstStyle>
          <a:p>
            <a:pPr marL="72000" indent="-72000" eaLnBrk="1" hangingPunct="1">
              <a:buFont typeface="Arial" pitchFamily="34" charset="0"/>
              <a:buChar char="•"/>
            </a:pPr>
            <a:r>
              <a:rPr lang="pt-BR" sz="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Myriad Pro"/>
              </a:rPr>
              <a:t>As regiões mais desenvolvidas tem os maiores índices, com destaque para o Sudeste. Isso ocorre porque essas regiões já tem altos índices de atendimento de água</a:t>
            </a:r>
          </a:p>
        </p:txBody>
      </p:sp>
      <p:sp>
        <p:nvSpPr>
          <p:cNvPr id="69" name="Text Box 15">
            <a:extLst>
              <a:ext uri="{FF2B5EF4-FFF2-40B4-BE49-F238E27FC236}">
                <a16:creationId xmlns:a16="http://schemas.microsoft.com/office/drawing/2014/main" id="{FDC02283-58DF-4DAD-9BFF-A49F2DAA90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40014" y="3939902"/>
            <a:ext cx="305261" cy="1552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>
            <a:noAutofit/>
          </a:bodyPr>
          <a:lstStyle/>
          <a:p>
            <a:pPr algn="ctr" eaLnBrk="0" hangingPunct="0"/>
            <a:r>
              <a:rPr lang="pt-BR" altLang="pt-BR" sz="800" b="1" dirty="0">
                <a:latin typeface="Myriad Pro"/>
              </a:rPr>
              <a:t>44%</a:t>
            </a:r>
          </a:p>
        </p:txBody>
      </p:sp>
      <p:sp>
        <p:nvSpPr>
          <p:cNvPr id="70" name="Text Box 15">
            <a:extLst>
              <a:ext uri="{FF2B5EF4-FFF2-40B4-BE49-F238E27FC236}">
                <a16:creationId xmlns:a16="http://schemas.microsoft.com/office/drawing/2014/main" id="{D8FF2751-52F7-4C27-BA51-E19822EB70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01335" y="3939902"/>
            <a:ext cx="1007361" cy="15528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anchor="ctr">
            <a:noAutofit/>
          </a:bodyPr>
          <a:lstStyle/>
          <a:p>
            <a:pPr eaLnBrk="0" hangingPunct="0"/>
            <a:r>
              <a:rPr lang="pt-BR" altLang="pt-B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yriad Pro"/>
              </a:rPr>
              <a:t>Tratamento - sobre o Esgoto Total</a:t>
            </a:r>
            <a:endParaRPr lang="pt-BR" altLang="pt-BR" sz="800" b="0" dirty="0">
              <a:solidFill>
                <a:schemeClr val="tx1">
                  <a:lumMod val="75000"/>
                  <a:lumOff val="25000"/>
                </a:schemeClr>
              </a:solidFill>
              <a:latin typeface="Myriad Pro"/>
            </a:endParaRPr>
          </a:p>
        </p:txBody>
      </p:sp>
      <p:sp>
        <p:nvSpPr>
          <p:cNvPr id="71" name="Text Box 15">
            <a:extLst>
              <a:ext uri="{FF2B5EF4-FFF2-40B4-BE49-F238E27FC236}">
                <a16:creationId xmlns:a16="http://schemas.microsoft.com/office/drawing/2014/main" id="{A38F8799-CBD2-4E61-B17C-93E044C0CA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7766" y="3757136"/>
            <a:ext cx="397467" cy="15528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anchor="ctr">
            <a:noAutofit/>
          </a:bodyPr>
          <a:lstStyle/>
          <a:p>
            <a:pPr eaLnBrk="0" hangingPunct="0"/>
            <a:r>
              <a:rPr lang="pt-BR" altLang="pt-BR" sz="800" b="1" dirty="0">
                <a:latin typeface="Myriad Pro"/>
              </a:rPr>
              <a:t>Brasil</a:t>
            </a:r>
          </a:p>
        </p:txBody>
      </p:sp>
      <p:grpSp>
        <p:nvGrpSpPr>
          <p:cNvPr id="72" name="Grupo 95">
            <a:extLst>
              <a:ext uri="{FF2B5EF4-FFF2-40B4-BE49-F238E27FC236}">
                <a16:creationId xmlns:a16="http://schemas.microsoft.com/office/drawing/2014/main" id="{4AD7EC76-D77B-48BB-86F4-1D6E0A9D2A3E}"/>
              </a:ext>
            </a:extLst>
          </p:cNvPr>
          <p:cNvGrpSpPr/>
          <p:nvPr/>
        </p:nvGrpSpPr>
        <p:grpSpPr>
          <a:xfrm>
            <a:off x="244484" y="4083918"/>
            <a:ext cx="2013336" cy="320295"/>
            <a:chOff x="244484" y="5406939"/>
            <a:chExt cx="2374366" cy="371281"/>
          </a:xfrm>
        </p:grpSpPr>
        <p:sp>
          <p:nvSpPr>
            <p:cNvPr id="73" name="Text Box 15">
              <a:extLst>
                <a:ext uri="{FF2B5EF4-FFF2-40B4-BE49-F238E27FC236}">
                  <a16:creationId xmlns:a16="http://schemas.microsoft.com/office/drawing/2014/main" id="{C631762B-95B3-4391-B7DD-C1F6F25398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3528" y="5598220"/>
              <a:ext cx="360000" cy="180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algn="ctr" eaLnBrk="0" hangingPunct="0"/>
              <a:r>
                <a:rPr lang="pt-BR" altLang="pt-BR" sz="800" b="1" dirty="0">
                  <a:latin typeface="Myriad Pro"/>
                </a:rPr>
                <a:t>52%</a:t>
              </a:r>
            </a:p>
          </p:txBody>
        </p:sp>
        <p:sp>
          <p:nvSpPr>
            <p:cNvPr id="74" name="Text Box 15">
              <a:extLst>
                <a:ext uri="{FF2B5EF4-FFF2-40B4-BE49-F238E27FC236}">
                  <a16:creationId xmlns:a16="http://schemas.microsoft.com/office/drawing/2014/main" id="{4AF3933F-0D49-4F7A-866F-00E5ACE3C1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1709" y="5598220"/>
              <a:ext cx="1987141" cy="17984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eaLnBrk="0" hangingPunct="0"/>
              <a:r>
                <a:rPr lang="pt-BR" altLang="pt-BR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Myriad Pro"/>
                </a:rPr>
                <a:t>Atendimento (Coleta) - Total</a:t>
              </a:r>
              <a:endParaRPr lang="pt-BR" altLang="pt-BR" sz="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Myriad Pro"/>
              </a:endParaRPr>
            </a:p>
          </p:txBody>
        </p:sp>
        <p:sp>
          <p:nvSpPr>
            <p:cNvPr id="75" name="Text Box 15">
              <a:extLst>
                <a:ext uri="{FF2B5EF4-FFF2-40B4-BE49-F238E27FC236}">
                  <a16:creationId xmlns:a16="http://schemas.microsoft.com/office/drawing/2014/main" id="{3DDA9193-8042-4A95-BF09-BAADE58B934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4484" y="5406939"/>
              <a:ext cx="468741" cy="18000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anchor="ctr">
              <a:noAutofit/>
            </a:bodyPr>
            <a:lstStyle/>
            <a:p>
              <a:pPr eaLnBrk="0" hangingPunct="0"/>
              <a:r>
                <a:rPr lang="pt-BR" altLang="pt-BR" sz="800" b="1" dirty="0">
                  <a:latin typeface="Myriad Pro"/>
                </a:rPr>
                <a:t>Brasi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981269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2C2D5AF1-9410-41B0-BC4D-73BEA9F263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32" b="560"/>
          <a:stretch/>
        </p:blipFill>
        <p:spPr>
          <a:xfrm>
            <a:off x="845959" y="1923678"/>
            <a:ext cx="7452082" cy="2610867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75FD0B1A-A42B-4561-AD12-678CCD8A9842}"/>
              </a:ext>
            </a:extLst>
          </p:cNvPr>
          <p:cNvSpPr txBox="1"/>
          <p:nvPr/>
        </p:nvSpPr>
        <p:spPr>
          <a:xfrm>
            <a:off x="107504" y="4909142"/>
            <a:ext cx="345638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1" u="none" strike="noStrike" kern="1200" cap="none" spc="0" normalizeH="0" baseline="0" noProof="0" dirty="0">
                <a:ln>
                  <a:noFill/>
                </a:ln>
                <a:solidFill>
                  <a:srgbClr val="253F9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Fonte: Banco Mundial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26697B95-E4DA-4B5D-948D-020BCA063D8D}"/>
              </a:ext>
            </a:extLst>
          </p:cNvPr>
          <p:cNvSpPr txBox="1">
            <a:spLocks/>
          </p:cNvSpPr>
          <p:nvPr/>
        </p:nvSpPr>
        <p:spPr>
          <a:xfrm>
            <a:off x="0" y="720080"/>
            <a:ext cx="9144000" cy="55552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1600" b="1" dirty="0">
                <a:solidFill>
                  <a:srgbClr val="253F93"/>
                </a:solidFill>
                <a:latin typeface="Myriad Pro"/>
              </a:rPr>
              <a:t>Ao longo dos anos, os investimentos em saneamento, em % do PIB, reduziram...</a:t>
            </a:r>
          </a:p>
        </p:txBody>
      </p:sp>
      <p:sp>
        <p:nvSpPr>
          <p:cNvPr id="8" name="Retângulo: Cantos Arredondados 7">
            <a:extLst>
              <a:ext uri="{FF2B5EF4-FFF2-40B4-BE49-F238E27FC236}">
                <a16:creationId xmlns:a16="http://schemas.microsoft.com/office/drawing/2014/main" id="{D47707FA-D8D6-44F8-ADD8-B1511A153125}"/>
              </a:ext>
            </a:extLst>
          </p:cNvPr>
          <p:cNvSpPr/>
          <p:nvPr/>
        </p:nvSpPr>
        <p:spPr>
          <a:xfrm>
            <a:off x="0" y="1200477"/>
            <a:ext cx="9144000" cy="55552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03C0BE14-BBD4-4720-A29F-046E8561C1E8}"/>
              </a:ext>
            </a:extLst>
          </p:cNvPr>
          <p:cNvSpPr txBox="1"/>
          <p:nvPr/>
        </p:nvSpPr>
        <p:spPr>
          <a:xfrm>
            <a:off x="395536" y="1219562"/>
            <a:ext cx="86409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De acordo com o Banco Mundial, o Brasil investe hoje cerca de </a:t>
            </a:r>
            <a:r>
              <a:rPr lang="pt-BR" sz="1200" b="1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0,18%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 do PIB em saneamento. Na criação do </a:t>
            </a:r>
            <a:r>
              <a:rPr lang="pt-BR" sz="1200" dirty="0" err="1">
                <a:solidFill>
                  <a:schemeClr val="accent1">
                    <a:lumMod val="75000"/>
                  </a:schemeClr>
                </a:solidFill>
                <a:latin typeface="Myriad Pro"/>
              </a:rPr>
              <a:t>Planasa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, girava em torno de </a:t>
            </a:r>
            <a:r>
              <a:rPr lang="pt-BR" sz="1200" b="1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0,36%</a:t>
            </a:r>
          </a:p>
          <a:p>
            <a:endParaRPr lang="pt-BR" sz="1200" spc="5" dirty="0">
              <a:solidFill>
                <a:srgbClr val="253F93"/>
              </a:solidFill>
              <a:latin typeface="Myriad Pro"/>
              <a:ea typeface="+mj-ea"/>
              <a:cs typeface="+mj-cs"/>
            </a:endParaRPr>
          </a:p>
          <a:p>
            <a:pPr lvl="1"/>
            <a:endParaRPr lang="pt-BR" sz="1200" b="1" spc="5" dirty="0">
              <a:solidFill>
                <a:srgbClr val="00A8AB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4870771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id="{E53C0796-B1D2-45A1-836C-BE17C7BA30D2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1600" b="1" dirty="0">
                <a:solidFill>
                  <a:srgbClr val="253F93"/>
                </a:solidFill>
                <a:latin typeface="Myriad Pro"/>
              </a:rPr>
              <a:t>...e os investimentos nas regiões mais necessitadas foram menores </a:t>
            </a:r>
          </a:p>
        </p:txBody>
      </p:sp>
      <p:sp>
        <p:nvSpPr>
          <p:cNvPr id="10" name="Retângulo: Cantos Arredondados 9">
            <a:extLst>
              <a:ext uri="{FF2B5EF4-FFF2-40B4-BE49-F238E27FC236}">
                <a16:creationId xmlns:a16="http://schemas.microsoft.com/office/drawing/2014/main" id="{425BB526-C464-4B35-845A-0E5E344EF00C}"/>
              </a:ext>
            </a:extLst>
          </p:cNvPr>
          <p:cNvSpPr/>
          <p:nvPr/>
        </p:nvSpPr>
        <p:spPr>
          <a:xfrm>
            <a:off x="0" y="1200477"/>
            <a:ext cx="9144000" cy="45896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Myriad Pro"/>
            </a:endParaRPr>
          </a:p>
        </p:txBody>
      </p:sp>
      <p:grpSp>
        <p:nvGrpSpPr>
          <p:cNvPr id="12" name="Agrupar 11">
            <a:extLst>
              <a:ext uri="{FF2B5EF4-FFF2-40B4-BE49-F238E27FC236}">
                <a16:creationId xmlns:a16="http://schemas.microsoft.com/office/drawing/2014/main" id="{309BB02C-47DE-4999-8A6D-D7E4FA53EED8}"/>
              </a:ext>
            </a:extLst>
          </p:cNvPr>
          <p:cNvGrpSpPr/>
          <p:nvPr/>
        </p:nvGrpSpPr>
        <p:grpSpPr>
          <a:xfrm>
            <a:off x="3563888" y="2166010"/>
            <a:ext cx="2448272" cy="2520280"/>
            <a:chOff x="990600" y="699542"/>
            <a:chExt cx="5334000" cy="4343400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DAA03A2E-3CEA-4667-B81D-B66BA5DFDF00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6377" y="3495533"/>
              <a:ext cx="1124142" cy="616184"/>
            </a:xfrm>
            <a:custGeom>
              <a:avLst/>
              <a:gdLst/>
              <a:ahLst/>
              <a:cxnLst>
                <a:cxn ang="0">
                  <a:pos x="1932" y="2411"/>
                </a:cxn>
                <a:cxn ang="0">
                  <a:pos x="1864" y="2325"/>
                </a:cxn>
                <a:cxn ang="0">
                  <a:pos x="1762" y="2202"/>
                </a:cxn>
                <a:cxn ang="0">
                  <a:pos x="1478" y="2116"/>
                </a:cxn>
                <a:cxn ang="0">
                  <a:pos x="1391" y="1852"/>
                </a:cxn>
                <a:cxn ang="0">
                  <a:pos x="1194" y="1407"/>
                </a:cxn>
                <a:cxn ang="0">
                  <a:pos x="694" y="1265"/>
                </a:cxn>
                <a:cxn ang="0">
                  <a:pos x="303" y="1257"/>
                </a:cxn>
                <a:cxn ang="0">
                  <a:pos x="0" y="1192"/>
                </a:cxn>
                <a:cxn ang="0">
                  <a:pos x="351" y="832"/>
                </a:cxn>
                <a:cxn ang="0">
                  <a:pos x="446" y="662"/>
                </a:cxn>
                <a:cxn ang="0">
                  <a:pos x="654" y="264"/>
                </a:cxn>
                <a:cxn ang="0">
                  <a:pos x="826" y="100"/>
                </a:cxn>
                <a:cxn ang="0">
                  <a:pos x="1221" y="67"/>
                </a:cxn>
                <a:cxn ang="0">
                  <a:pos x="1534" y="123"/>
                </a:cxn>
                <a:cxn ang="0">
                  <a:pos x="1695" y="225"/>
                </a:cxn>
                <a:cxn ang="0">
                  <a:pos x="2046" y="189"/>
                </a:cxn>
                <a:cxn ang="0">
                  <a:pos x="2350" y="162"/>
                </a:cxn>
                <a:cxn ang="0">
                  <a:pos x="2377" y="303"/>
                </a:cxn>
                <a:cxn ang="0">
                  <a:pos x="2396" y="500"/>
                </a:cxn>
                <a:cxn ang="0">
                  <a:pos x="2538" y="764"/>
                </a:cxn>
                <a:cxn ang="0">
                  <a:pos x="2668" y="851"/>
                </a:cxn>
                <a:cxn ang="0">
                  <a:pos x="2632" y="1182"/>
                </a:cxn>
                <a:cxn ang="0">
                  <a:pos x="2727" y="1359"/>
                </a:cxn>
                <a:cxn ang="0">
                  <a:pos x="2964" y="1398"/>
                </a:cxn>
                <a:cxn ang="0">
                  <a:pos x="3256" y="1284"/>
                </a:cxn>
                <a:cxn ang="0">
                  <a:pos x="3472" y="1323"/>
                </a:cxn>
                <a:cxn ang="0">
                  <a:pos x="3642" y="1344"/>
                </a:cxn>
                <a:cxn ang="0">
                  <a:pos x="3370" y="1485"/>
                </a:cxn>
                <a:cxn ang="0">
                  <a:pos x="3350" y="1663"/>
                </a:cxn>
                <a:cxn ang="0">
                  <a:pos x="3038" y="1871"/>
                </a:cxn>
                <a:cxn ang="0">
                  <a:pos x="2538" y="2005"/>
                </a:cxn>
                <a:cxn ang="0">
                  <a:pos x="1971" y="2446"/>
                </a:cxn>
              </a:cxnLst>
              <a:rect l="0" t="0" r="r" b="b"/>
              <a:pathLst>
                <a:path w="3642" h="2446">
                  <a:moveTo>
                    <a:pt x="1971" y="2446"/>
                  </a:moveTo>
                  <a:lnTo>
                    <a:pt x="1932" y="2411"/>
                  </a:lnTo>
                  <a:lnTo>
                    <a:pt x="1932" y="2391"/>
                  </a:lnTo>
                  <a:lnTo>
                    <a:pt x="1864" y="2325"/>
                  </a:lnTo>
                  <a:lnTo>
                    <a:pt x="1782" y="2371"/>
                  </a:lnTo>
                  <a:lnTo>
                    <a:pt x="1762" y="2202"/>
                  </a:lnTo>
                  <a:lnTo>
                    <a:pt x="1514" y="2182"/>
                  </a:lnTo>
                  <a:lnTo>
                    <a:pt x="1478" y="2116"/>
                  </a:lnTo>
                  <a:lnTo>
                    <a:pt x="1514" y="2053"/>
                  </a:lnTo>
                  <a:lnTo>
                    <a:pt x="1391" y="1852"/>
                  </a:lnTo>
                  <a:lnTo>
                    <a:pt x="1364" y="1595"/>
                  </a:lnTo>
                  <a:lnTo>
                    <a:pt x="1194" y="1407"/>
                  </a:lnTo>
                  <a:lnTo>
                    <a:pt x="978" y="1407"/>
                  </a:lnTo>
                  <a:lnTo>
                    <a:pt x="694" y="1265"/>
                  </a:lnTo>
                  <a:lnTo>
                    <a:pt x="458" y="1257"/>
                  </a:lnTo>
                  <a:lnTo>
                    <a:pt x="303" y="1257"/>
                  </a:lnTo>
                  <a:lnTo>
                    <a:pt x="87" y="1249"/>
                  </a:lnTo>
                  <a:lnTo>
                    <a:pt x="0" y="1192"/>
                  </a:lnTo>
                  <a:lnTo>
                    <a:pt x="174" y="1068"/>
                  </a:lnTo>
                  <a:lnTo>
                    <a:pt x="351" y="832"/>
                  </a:lnTo>
                  <a:lnTo>
                    <a:pt x="351" y="764"/>
                  </a:lnTo>
                  <a:lnTo>
                    <a:pt x="446" y="662"/>
                  </a:lnTo>
                  <a:lnTo>
                    <a:pt x="512" y="481"/>
                  </a:lnTo>
                  <a:lnTo>
                    <a:pt x="654" y="264"/>
                  </a:lnTo>
                  <a:lnTo>
                    <a:pt x="824" y="142"/>
                  </a:lnTo>
                  <a:lnTo>
                    <a:pt x="826" y="100"/>
                  </a:lnTo>
                  <a:lnTo>
                    <a:pt x="1012" y="0"/>
                  </a:lnTo>
                  <a:lnTo>
                    <a:pt x="1221" y="67"/>
                  </a:lnTo>
                  <a:lnTo>
                    <a:pt x="1498" y="55"/>
                  </a:lnTo>
                  <a:lnTo>
                    <a:pt x="1534" y="123"/>
                  </a:lnTo>
                  <a:lnTo>
                    <a:pt x="1534" y="189"/>
                  </a:lnTo>
                  <a:lnTo>
                    <a:pt x="1695" y="225"/>
                  </a:lnTo>
                  <a:lnTo>
                    <a:pt x="1789" y="170"/>
                  </a:lnTo>
                  <a:lnTo>
                    <a:pt x="2046" y="189"/>
                  </a:lnTo>
                  <a:lnTo>
                    <a:pt x="2175" y="102"/>
                  </a:lnTo>
                  <a:lnTo>
                    <a:pt x="2350" y="162"/>
                  </a:lnTo>
                  <a:lnTo>
                    <a:pt x="2404" y="237"/>
                  </a:lnTo>
                  <a:lnTo>
                    <a:pt x="2377" y="303"/>
                  </a:lnTo>
                  <a:lnTo>
                    <a:pt x="2443" y="426"/>
                  </a:lnTo>
                  <a:lnTo>
                    <a:pt x="2396" y="500"/>
                  </a:lnTo>
                  <a:lnTo>
                    <a:pt x="2471" y="718"/>
                  </a:lnTo>
                  <a:lnTo>
                    <a:pt x="2538" y="764"/>
                  </a:lnTo>
                  <a:lnTo>
                    <a:pt x="2649" y="776"/>
                  </a:lnTo>
                  <a:lnTo>
                    <a:pt x="2668" y="851"/>
                  </a:lnTo>
                  <a:lnTo>
                    <a:pt x="2593" y="1107"/>
                  </a:lnTo>
                  <a:lnTo>
                    <a:pt x="2632" y="1182"/>
                  </a:lnTo>
                  <a:lnTo>
                    <a:pt x="2743" y="1296"/>
                  </a:lnTo>
                  <a:lnTo>
                    <a:pt x="2727" y="1359"/>
                  </a:lnTo>
                  <a:lnTo>
                    <a:pt x="2783" y="1418"/>
                  </a:lnTo>
                  <a:lnTo>
                    <a:pt x="2964" y="1398"/>
                  </a:lnTo>
                  <a:lnTo>
                    <a:pt x="3019" y="1312"/>
                  </a:lnTo>
                  <a:lnTo>
                    <a:pt x="3256" y="1284"/>
                  </a:lnTo>
                  <a:lnTo>
                    <a:pt x="3397" y="1237"/>
                  </a:lnTo>
                  <a:lnTo>
                    <a:pt x="3472" y="1323"/>
                  </a:lnTo>
                  <a:lnTo>
                    <a:pt x="3626" y="1323"/>
                  </a:lnTo>
                  <a:lnTo>
                    <a:pt x="3642" y="1344"/>
                  </a:lnTo>
                  <a:lnTo>
                    <a:pt x="3547" y="1439"/>
                  </a:lnTo>
                  <a:lnTo>
                    <a:pt x="3370" y="1485"/>
                  </a:lnTo>
                  <a:lnTo>
                    <a:pt x="3342" y="1580"/>
                  </a:lnTo>
                  <a:lnTo>
                    <a:pt x="3350" y="1663"/>
                  </a:lnTo>
                  <a:lnTo>
                    <a:pt x="3074" y="1816"/>
                  </a:lnTo>
                  <a:lnTo>
                    <a:pt x="3038" y="1871"/>
                  </a:lnTo>
                  <a:lnTo>
                    <a:pt x="2877" y="1852"/>
                  </a:lnTo>
                  <a:lnTo>
                    <a:pt x="2538" y="2005"/>
                  </a:lnTo>
                  <a:lnTo>
                    <a:pt x="2046" y="2383"/>
                  </a:lnTo>
                  <a:lnTo>
                    <a:pt x="1971" y="2446"/>
                  </a:lnTo>
                  <a:lnTo>
                    <a:pt x="1971" y="2446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EF630949-6835-40CF-BAF7-82E02901D6B4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1477" y="1253180"/>
              <a:ext cx="346326" cy="189950"/>
            </a:xfrm>
            <a:custGeom>
              <a:avLst/>
              <a:gdLst/>
              <a:ahLst/>
              <a:cxnLst>
                <a:cxn ang="0">
                  <a:pos x="39" y="108"/>
                </a:cxn>
                <a:cxn ang="0">
                  <a:pos x="16" y="115"/>
                </a:cxn>
                <a:cxn ang="0">
                  <a:pos x="5" y="103"/>
                </a:cxn>
                <a:cxn ang="0">
                  <a:pos x="7" y="96"/>
                </a:cxn>
                <a:cxn ang="0">
                  <a:pos x="0" y="80"/>
                </a:cxn>
                <a:cxn ang="0">
                  <a:pos x="12" y="69"/>
                </a:cxn>
                <a:cxn ang="0">
                  <a:pos x="3" y="64"/>
                </a:cxn>
                <a:cxn ang="0">
                  <a:pos x="5" y="35"/>
                </a:cxn>
                <a:cxn ang="0">
                  <a:pos x="14" y="28"/>
                </a:cxn>
                <a:cxn ang="0">
                  <a:pos x="14" y="12"/>
                </a:cxn>
                <a:cxn ang="0">
                  <a:pos x="30" y="0"/>
                </a:cxn>
                <a:cxn ang="0">
                  <a:pos x="90" y="12"/>
                </a:cxn>
                <a:cxn ang="0">
                  <a:pos x="117" y="7"/>
                </a:cxn>
                <a:cxn ang="0">
                  <a:pos x="170" y="16"/>
                </a:cxn>
                <a:cxn ang="0">
                  <a:pos x="149" y="67"/>
                </a:cxn>
                <a:cxn ang="0">
                  <a:pos x="133" y="80"/>
                </a:cxn>
                <a:cxn ang="0">
                  <a:pos x="135" y="87"/>
                </a:cxn>
                <a:cxn ang="0">
                  <a:pos x="128" y="94"/>
                </a:cxn>
                <a:cxn ang="0">
                  <a:pos x="108" y="96"/>
                </a:cxn>
                <a:cxn ang="0">
                  <a:pos x="99" y="101"/>
                </a:cxn>
                <a:cxn ang="0">
                  <a:pos x="92" y="99"/>
                </a:cxn>
                <a:cxn ang="0">
                  <a:pos x="71" y="112"/>
                </a:cxn>
                <a:cxn ang="0">
                  <a:pos x="48" y="115"/>
                </a:cxn>
                <a:cxn ang="0">
                  <a:pos x="39" y="108"/>
                </a:cxn>
              </a:cxnLst>
              <a:rect l="0" t="0" r="r" b="b"/>
              <a:pathLst>
                <a:path w="170" h="115">
                  <a:moveTo>
                    <a:pt x="39" y="108"/>
                  </a:moveTo>
                  <a:lnTo>
                    <a:pt x="16" y="115"/>
                  </a:lnTo>
                  <a:lnTo>
                    <a:pt x="5" y="103"/>
                  </a:lnTo>
                  <a:lnTo>
                    <a:pt x="7" y="96"/>
                  </a:lnTo>
                  <a:lnTo>
                    <a:pt x="0" y="80"/>
                  </a:lnTo>
                  <a:lnTo>
                    <a:pt x="12" y="69"/>
                  </a:lnTo>
                  <a:lnTo>
                    <a:pt x="3" y="64"/>
                  </a:lnTo>
                  <a:lnTo>
                    <a:pt x="5" y="35"/>
                  </a:lnTo>
                  <a:lnTo>
                    <a:pt x="14" y="28"/>
                  </a:lnTo>
                  <a:lnTo>
                    <a:pt x="14" y="12"/>
                  </a:lnTo>
                  <a:lnTo>
                    <a:pt x="30" y="0"/>
                  </a:lnTo>
                  <a:lnTo>
                    <a:pt x="90" y="12"/>
                  </a:lnTo>
                  <a:lnTo>
                    <a:pt x="117" y="7"/>
                  </a:lnTo>
                  <a:lnTo>
                    <a:pt x="170" y="16"/>
                  </a:lnTo>
                  <a:lnTo>
                    <a:pt x="149" y="67"/>
                  </a:lnTo>
                  <a:lnTo>
                    <a:pt x="133" y="80"/>
                  </a:lnTo>
                  <a:lnTo>
                    <a:pt x="135" y="87"/>
                  </a:lnTo>
                  <a:lnTo>
                    <a:pt x="128" y="94"/>
                  </a:lnTo>
                  <a:lnTo>
                    <a:pt x="108" y="96"/>
                  </a:lnTo>
                  <a:lnTo>
                    <a:pt x="99" y="101"/>
                  </a:lnTo>
                  <a:lnTo>
                    <a:pt x="92" y="99"/>
                  </a:lnTo>
                  <a:lnTo>
                    <a:pt x="71" y="112"/>
                  </a:lnTo>
                  <a:lnTo>
                    <a:pt x="48" y="115"/>
                  </a:lnTo>
                  <a:lnTo>
                    <a:pt x="39" y="108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BA1B6AB0-7403-498A-9980-C1AB503D19B1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4264" y="3321797"/>
              <a:ext cx="309422" cy="372953"/>
            </a:xfrm>
            <a:custGeom>
              <a:avLst/>
              <a:gdLst/>
              <a:ahLst/>
              <a:cxnLst>
                <a:cxn ang="0">
                  <a:pos x="757" y="0"/>
                </a:cxn>
                <a:cxn ang="0">
                  <a:pos x="615" y="0"/>
                </a:cxn>
                <a:cxn ang="0">
                  <a:pos x="445" y="75"/>
                </a:cxn>
                <a:cxn ang="0">
                  <a:pos x="399" y="169"/>
                </a:cxn>
                <a:cxn ang="0">
                  <a:pos x="426" y="303"/>
                </a:cxn>
                <a:cxn ang="0">
                  <a:pos x="438" y="370"/>
                </a:cxn>
                <a:cxn ang="0">
                  <a:pos x="399" y="446"/>
                </a:cxn>
                <a:cxn ang="0">
                  <a:pos x="426" y="615"/>
                </a:cxn>
                <a:cxn ang="0">
                  <a:pos x="399" y="710"/>
                </a:cxn>
                <a:cxn ang="0">
                  <a:pos x="248" y="938"/>
                </a:cxn>
                <a:cxn ang="0">
                  <a:pos x="209" y="1004"/>
                </a:cxn>
                <a:cxn ang="0">
                  <a:pos x="95" y="992"/>
                </a:cxn>
                <a:cxn ang="0">
                  <a:pos x="20" y="1067"/>
                </a:cxn>
                <a:cxn ang="0">
                  <a:pos x="0" y="1249"/>
                </a:cxn>
                <a:cxn ang="0">
                  <a:pos x="32" y="1276"/>
                </a:cxn>
                <a:cxn ang="0">
                  <a:pos x="59" y="1398"/>
                </a:cxn>
                <a:cxn ang="0">
                  <a:pos x="378" y="1485"/>
                </a:cxn>
                <a:cxn ang="0">
                  <a:pos x="380" y="1485"/>
                </a:cxn>
                <a:cxn ang="0">
                  <a:pos x="399" y="1438"/>
                </a:cxn>
                <a:cxn ang="0">
                  <a:pos x="615" y="1221"/>
                </a:cxn>
                <a:cxn ang="0">
                  <a:pos x="647" y="1107"/>
                </a:cxn>
                <a:cxn ang="0">
                  <a:pos x="890" y="796"/>
                </a:cxn>
                <a:cxn ang="0">
                  <a:pos x="938" y="521"/>
                </a:cxn>
                <a:cxn ang="0">
                  <a:pos x="994" y="181"/>
                </a:cxn>
                <a:cxn ang="0">
                  <a:pos x="757" y="0"/>
                </a:cxn>
                <a:cxn ang="0">
                  <a:pos x="757" y="0"/>
                </a:cxn>
              </a:cxnLst>
              <a:rect l="0" t="0" r="r" b="b"/>
              <a:pathLst>
                <a:path w="994" h="1485">
                  <a:moveTo>
                    <a:pt x="757" y="0"/>
                  </a:moveTo>
                  <a:lnTo>
                    <a:pt x="615" y="0"/>
                  </a:lnTo>
                  <a:lnTo>
                    <a:pt x="445" y="75"/>
                  </a:lnTo>
                  <a:lnTo>
                    <a:pt x="399" y="169"/>
                  </a:lnTo>
                  <a:lnTo>
                    <a:pt x="426" y="303"/>
                  </a:lnTo>
                  <a:lnTo>
                    <a:pt x="438" y="370"/>
                  </a:lnTo>
                  <a:lnTo>
                    <a:pt x="399" y="446"/>
                  </a:lnTo>
                  <a:lnTo>
                    <a:pt x="426" y="615"/>
                  </a:lnTo>
                  <a:lnTo>
                    <a:pt x="399" y="710"/>
                  </a:lnTo>
                  <a:lnTo>
                    <a:pt x="248" y="938"/>
                  </a:lnTo>
                  <a:lnTo>
                    <a:pt x="209" y="1004"/>
                  </a:lnTo>
                  <a:lnTo>
                    <a:pt x="95" y="992"/>
                  </a:lnTo>
                  <a:lnTo>
                    <a:pt x="20" y="1067"/>
                  </a:lnTo>
                  <a:lnTo>
                    <a:pt x="0" y="1249"/>
                  </a:lnTo>
                  <a:lnTo>
                    <a:pt x="32" y="1276"/>
                  </a:lnTo>
                  <a:lnTo>
                    <a:pt x="59" y="1398"/>
                  </a:lnTo>
                  <a:lnTo>
                    <a:pt x="378" y="1485"/>
                  </a:lnTo>
                  <a:lnTo>
                    <a:pt x="380" y="1485"/>
                  </a:lnTo>
                  <a:lnTo>
                    <a:pt x="399" y="1438"/>
                  </a:lnTo>
                  <a:lnTo>
                    <a:pt x="615" y="1221"/>
                  </a:lnTo>
                  <a:lnTo>
                    <a:pt x="647" y="1107"/>
                  </a:lnTo>
                  <a:lnTo>
                    <a:pt x="890" y="796"/>
                  </a:lnTo>
                  <a:lnTo>
                    <a:pt x="938" y="521"/>
                  </a:lnTo>
                  <a:lnTo>
                    <a:pt x="994" y="181"/>
                  </a:lnTo>
                  <a:lnTo>
                    <a:pt x="757" y="0"/>
                  </a:lnTo>
                  <a:lnTo>
                    <a:pt x="757" y="0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81D01FD1-77B5-4182-A9D9-0D6BF8A648F3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1467" y="4313251"/>
              <a:ext cx="950979" cy="729691"/>
            </a:xfrm>
            <a:custGeom>
              <a:avLst/>
              <a:gdLst/>
              <a:ahLst/>
              <a:cxnLst>
                <a:cxn ang="0">
                  <a:pos x="3085" y="980"/>
                </a:cxn>
                <a:cxn ang="0">
                  <a:pos x="3017" y="944"/>
                </a:cxn>
                <a:cxn ang="0">
                  <a:pos x="2934" y="980"/>
                </a:cxn>
                <a:cxn ang="0">
                  <a:pos x="2895" y="944"/>
                </a:cxn>
                <a:cxn ang="0">
                  <a:pos x="2982" y="859"/>
                </a:cxn>
                <a:cxn ang="0">
                  <a:pos x="2990" y="803"/>
                </a:cxn>
                <a:cxn ang="0">
                  <a:pos x="3085" y="677"/>
                </a:cxn>
                <a:cxn ang="0">
                  <a:pos x="3077" y="629"/>
                </a:cxn>
                <a:cxn ang="0">
                  <a:pos x="2828" y="602"/>
                </a:cxn>
                <a:cxn ang="0">
                  <a:pos x="2679" y="461"/>
                </a:cxn>
                <a:cxn ang="0">
                  <a:pos x="2470" y="252"/>
                </a:cxn>
                <a:cxn ang="0">
                  <a:pos x="2225" y="109"/>
                </a:cxn>
                <a:cxn ang="0">
                  <a:pos x="2138" y="82"/>
                </a:cxn>
                <a:cxn ang="0">
                  <a:pos x="1583" y="0"/>
                </a:cxn>
                <a:cxn ang="0">
                  <a:pos x="1469" y="7"/>
                </a:cxn>
                <a:cxn ang="0">
                  <a:pos x="1239" y="157"/>
                </a:cxn>
                <a:cxn ang="0">
                  <a:pos x="1110" y="224"/>
                </a:cxn>
                <a:cxn ang="0">
                  <a:pos x="767" y="500"/>
                </a:cxn>
                <a:cxn ang="0">
                  <a:pos x="731" y="594"/>
                </a:cxn>
                <a:cxn ang="0">
                  <a:pos x="653" y="602"/>
                </a:cxn>
                <a:cxn ang="0">
                  <a:pos x="369" y="932"/>
                </a:cxn>
                <a:cxn ang="0">
                  <a:pos x="353" y="992"/>
                </a:cxn>
                <a:cxn ang="0">
                  <a:pos x="117" y="1284"/>
                </a:cxn>
                <a:cxn ang="0">
                  <a:pos x="0" y="1435"/>
                </a:cxn>
                <a:cxn ang="0">
                  <a:pos x="144" y="1464"/>
                </a:cxn>
                <a:cxn ang="0">
                  <a:pos x="226" y="1359"/>
                </a:cxn>
                <a:cxn ang="0">
                  <a:pos x="389" y="1445"/>
                </a:cxn>
                <a:cxn ang="0">
                  <a:pos x="464" y="1500"/>
                </a:cxn>
                <a:cxn ang="0">
                  <a:pos x="617" y="1689"/>
                </a:cxn>
                <a:cxn ang="0">
                  <a:pos x="617" y="1776"/>
                </a:cxn>
                <a:cxn ang="0">
                  <a:pos x="665" y="1803"/>
                </a:cxn>
                <a:cxn ang="0">
                  <a:pos x="767" y="1709"/>
                </a:cxn>
                <a:cxn ang="0">
                  <a:pos x="787" y="1689"/>
                </a:cxn>
                <a:cxn ang="0">
                  <a:pos x="996" y="1906"/>
                </a:cxn>
                <a:cxn ang="0">
                  <a:pos x="1165" y="1973"/>
                </a:cxn>
                <a:cxn ang="0">
                  <a:pos x="1280" y="2126"/>
                </a:cxn>
                <a:cxn ang="0">
                  <a:pos x="1448" y="2201"/>
                </a:cxn>
                <a:cxn ang="0">
                  <a:pos x="1610" y="2437"/>
                </a:cxn>
                <a:cxn ang="0">
                  <a:pos x="1685" y="2493"/>
                </a:cxn>
                <a:cxn ang="0">
                  <a:pos x="1657" y="2551"/>
                </a:cxn>
                <a:cxn ang="0">
                  <a:pos x="1591" y="2626"/>
                </a:cxn>
                <a:cxn ang="0">
                  <a:pos x="1571" y="2748"/>
                </a:cxn>
                <a:cxn ang="0">
                  <a:pos x="1618" y="2910"/>
                </a:cxn>
                <a:cxn ang="0">
                  <a:pos x="1678" y="2898"/>
                </a:cxn>
                <a:cxn ang="0">
                  <a:pos x="1914" y="2646"/>
                </a:cxn>
                <a:cxn ang="0">
                  <a:pos x="2016" y="2398"/>
                </a:cxn>
                <a:cxn ang="0">
                  <a:pos x="2178" y="2189"/>
                </a:cxn>
                <a:cxn ang="0">
                  <a:pos x="2434" y="1993"/>
                </a:cxn>
                <a:cxn ang="0">
                  <a:pos x="2745" y="1634"/>
                </a:cxn>
                <a:cxn ang="0">
                  <a:pos x="2922" y="1264"/>
                </a:cxn>
                <a:cxn ang="0">
                  <a:pos x="3085" y="980"/>
                </a:cxn>
                <a:cxn ang="0">
                  <a:pos x="3085" y="980"/>
                </a:cxn>
              </a:cxnLst>
              <a:rect l="0" t="0" r="r" b="b"/>
              <a:pathLst>
                <a:path w="3085" h="2910">
                  <a:moveTo>
                    <a:pt x="3085" y="980"/>
                  </a:moveTo>
                  <a:lnTo>
                    <a:pt x="3017" y="944"/>
                  </a:lnTo>
                  <a:lnTo>
                    <a:pt x="2934" y="980"/>
                  </a:lnTo>
                  <a:lnTo>
                    <a:pt x="2895" y="944"/>
                  </a:lnTo>
                  <a:lnTo>
                    <a:pt x="2982" y="859"/>
                  </a:lnTo>
                  <a:lnTo>
                    <a:pt x="2990" y="803"/>
                  </a:lnTo>
                  <a:lnTo>
                    <a:pt x="3085" y="677"/>
                  </a:lnTo>
                  <a:lnTo>
                    <a:pt x="3077" y="629"/>
                  </a:lnTo>
                  <a:lnTo>
                    <a:pt x="2828" y="602"/>
                  </a:lnTo>
                  <a:lnTo>
                    <a:pt x="2679" y="461"/>
                  </a:lnTo>
                  <a:lnTo>
                    <a:pt x="2470" y="252"/>
                  </a:lnTo>
                  <a:lnTo>
                    <a:pt x="2225" y="109"/>
                  </a:lnTo>
                  <a:lnTo>
                    <a:pt x="2138" y="82"/>
                  </a:lnTo>
                  <a:lnTo>
                    <a:pt x="1583" y="0"/>
                  </a:lnTo>
                  <a:lnTo>
                    <a:pt x="1469" y="7"/>
                  </a:lnTo>
                  <a:lnTo>
                    <a:pt x="1239" y="157"/>
                  </a:lnTo>
                  <a:lnTo>
                    <a:pt x="1110" y="224"/>
                  </a:lnTo>
                  <a:lnTo>
                    <a:pt x="767" y="500"/>
                  </a:lnTo>
                  <a:lnTo>
                    <a:pt x="731" y="594"/>
                  </a:lnTo>
                  <a:lnTo>
                    <a:pt x="653" y="602"/>
                  </a:lnTo>
                  <a:lnTo>
                    <a:pt x="369" y="932"/>
                  </a:lnTo>
                  <a:lnTo>
                    <a:pt x="353" y="992"/>
                  </a:lnTo>
                  <a:lnTo>
                    <a:pt x="117" y="1284"/>
                  </a:lnTo>
                  <a:lnTo>
                    <a:pt x="0" y="1435"/>
                  </a:lnTo>
                  <a:lnTo>
                    <a:pt x="144" y="1464"/>
                  </a:lnTo>
                  <a:lnTo>
                    <a:pt x="226" y="1359"/>
                  </a:lnTo>
                  <a:lnTo>
                    <a:pt x="389" y="1445"/>
                  </a:lnTo>
                  <a:lnTo>
                    <a:pt x="464" y="1500"/>
                  </a:lnTo>
                  <a:lnTo>
                    <a:pt x="617" y="1689"/>
                  </a:lnTo>
                  <a:lnTo>
                    <a:pt x="617" y="1776"/>
                  </a:lnTo>
                  <a:lnTo>
                    <a:pt x="665" y="1803"/>
                  </a:lnTo>
                  <a:lnTo>
                    <a:pt x="767" y="1709"/>
                  </a:lnTo>
                  <a:lnTo>
                    <a:pt x="787" y="1689"/>
                  </a:lnTo>
                  <a:lnTo>
                    <a:pt x="996" y="1906"/>
                  </a:lnTo>
                  <a:lnTo>
                    <a:pt x="1165" y="1973"/>
                  </a:lnTo>
                  <a:lnTo>
                    <a:pt x="1280" y="2126"/>
                  </a:lnTo>
                  <a:lnTo>
                    <a:pt x="1448" y="2201"/>
                  </a:lnTo>
                  <a:lnTo>
                    <a:pt x="1610" y="2437"/>
                  </a:lnTo>
                  <a:lnTo>
                    <a:pt x="1685" y="2493"/>
                  </a:lnTo>
                  <a:lnTo>
                    <a:pt x="1657" y="2551"/>
                  </a:lnTo>
                  <a:lnTo>
                    <a:pt x="1591" y="2626"/>
                  </a:lnTo>
                  <a:lnTo>
                    <a:pt x="1571" y="2748"/>
                  </a:lnTo>
                  <a:lnTo>
                    <a:pt x="1618" y="2910"/>
                  </a:lnTo>
                  <a:lnTo>
                    <a:pt x="1678" y="2898"/>
                  </a:lnTo>
                  <a:lnTo>
                    <a:pt x="1914" y="2646"/>
                  </a:lnTo>
                  <a:lnTo>
                    <a:pt x="2016" y="2398"/>
                  </a:lnTo>
                  <a:lnTo>
                    <a:pt x="2178" y="2189"/>
                  </a:lnTo>
                  <a:lnTo>
                    <a:pt x="2434" y="1993"/>
                  </a:lnTo>
                  <a:lnTo>
                    <a:pt x="2745" y="1634"/>
                  </a:lnTo>
                  <a:lnTo>
                    <a:pt x="2922" y="1264"/>
                  </a:lnTo>
                  <a:lnTo>
                    <a:pt x="3085" y="980"/>
                  </a:lnTo>
                  <a:lnTo>
                    <a:pt x="3085" y="980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BE907FFD-54AF-4D95-9CB0-8B13DDDA044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44826" y="3796674"/>
              <a:ext cx="809043" cy="472563"/>
            </a:xfrm>
            <a:custGeom>
              <a:avLst/>
              <a:gdLst/>
              <a:ahLst/>
              <a:cxnLst>
                <a:cxn ang="0">
                  <a:pos x="2422" y="1621"/>
                </a:cxn>
                <a:cxn ang="0">
                  <a:pos x="2290" y="1597"/>
                </a:cxn>
                <a:cxn ang="0">
                  <a:pos x="2026" y="1680"/>
                </a:cxn>
                <a:cxn ang="0">
                  <a:pos x="1939" y="1624"/>
                </a:cxn>
                <a:cxn ang="0">
                  <a:pos x="1825" y="1585"/>
                </a:cxn>
                <a:cxn ang="0">
                  <a:pos x="1703" y="1617"/>
                </a:cxn>
                <a:cxn ang="0">
                  <a:pos x="1608" y="1597"/>
                </a:cxn>
                <a:cxn ang="0">
                  <a:pos x="1514" y="1692"/>
                </a:cxn>
                <a:cxn ang="0">
                  <a:pos x="1352" y="1711"/>
                </a:cxn>
                <a:cxn ang="0">
                  <a:pos x="1317" y="1767"/>
                </a:cxn>
                <a:cxn ang="0">
                  <a:pos x="1317" y="1842"/>
                </a:cxn>
                <a:cxn ang="0">
                  <a:pos x="1249" y="1881"/>
                </a:cxn>
                <a:cxn ang="0">
                  <a:pos x="985" y="1813"/>
                </a:cxn>
                <a:cxn ang="0">
                  <a:pos x="797" y="1747"/>
                </a:cxn>
                <a:cxn ang="0">
                  <a:pos x="514" y="1711"/>
                </a:cxn>
                <a:cxn ang="0">
                  <a:pos x="356" y="1699"/>
                </a:cxn>
                <a:cxn ang="0">
                  <a:pos x="276" y="1483"/>
                </a:cxn>
                <a:cxn ang="0">
                  <a:pos x="190" y="1436"/>
                </a:cxn>
                <a:cxn ang="0">
                  <a:pos x="47" y="1444"/>
                </a:cxn>
                <a:cxn ang="0">
                  <a:pos x="0" y="1415"/>
                </a:cxn>
                <a:cxn ang="0">
                  <a:pos x="55" y="1124"/>
                </a:cxn>
                <a:cxn ang="0">
                  <a:pos x="115" y="924"/>
                </a:cxn>
                <a:cxn ang="0">
                  <a:pos x="103" y="861"/>
                </a:cxn>
                <a:cxn ang="0">
                  <a:pos x="103" y="718"/>
                </a:cxn>
                <a:cxn ang="0">
                  <a:pos x="190" y="660"/>
                </a:cxn>
                <a:cxn ang="0">
                  <a:pos x="244" y="435"/>
                </a:cxn>
                <a:cxn ang="0">
                  <a:pos x="358" y="320"/>
                </a:cxn>
                <a:cxn ang="0">
                  <a:pos x="378" y="206"/>
                </a:cxn>
                <a:cxn ang="0">
                  <a:pos x="670" y="0"/>
                </a:cxn>
                <a:cxn ang="0">
                  <a:pos x="757" y="57"/>
                </a:cxn>
                <a:cxn ang="0">
                  <a:pos x="973" y="65"/>
                </a:cxn>
                <a:cxn ang="0">
                  <a:pos x="1128" y="65"/>
                </a:cxn>
                <a:cxn ang="0">
                  <a:pos x="1364" y="73"/>
                </a:cxn>
                <a:cxn ang="0">
                  <a:pos x="1648" y="215"/>
                </a:cxn>
                <a:cxn ang="0">
                  <a:pos x="1864" y="215"/>
                </a:cxn>
                <a:cxn ang="0">
                  <a:pos x="2034" y="403"/>
                </a:cxn>
                <a:cxn ang="0">
                  <a:pos x="2061" y="660"/>
                </a:cxn>
                <a:cxn ang="0">
                  <a:pos x="2184" y="861"/>
                </a:cxn>
                <a:cxn ang="0">
                  <a:pos x="2148" y="924"/>
                </a:cxn>
                <a:cxn ang="0">
                  <a:pos x="2184" y="990"/>
                </a:cxn>
                <a:cxn ang="0">
                  <a:pos x="2432" y="1010"/>
                </a:cxn>
                <a:cxn ang="0">
                  <a:pos x="2452" y="1179"/>
                </a:cxn>
                <a:cxn ang="0">
                  <a:pos x="2534" y="1133"/>
                </a:cxn>
                <a:cxn ang="0">
                  <a:pos x="2602" y="1199"/>
                </a:cxn>
                <a:cxn ang="0">
                  <a:pos x="2602" y="1219"/>
                </a:cxn>
                <a:cxn ang="0">
                  <a:pos x="2641" y="1254"/>
                </a:cxn>
                <a:cxn ang="0">
                  <a:pos x="2581" y="1333"/>
                </a:cxn>
                <a:cxn ang="0">
                  <a:pos x="2467" y="1341"/>
                </a:cxn>
                <a:cxn ang="0">
                  <a:pos x="2393" y="1369"/>
                </a:cxn>
                <a:cxn ang="0">
                  <a:pos x="2372" y="1388"/>
                </a:cxn>
                <a:cxn ang="0">
                  <a:pos x="2467" y="1463"/>
                </a:cxn>
                <a:cxn ang="0">
                  <a:pos x="2421" y="1621"/>
                </a:cxn>
                <a:cxn ang="0">
                  <a:pos x="2422" y="1621"/>
                </a:cxn>
                <a:cxn ang="0">
                  <a:pos x="2422" y="1621"/>
                </a:cxn>
              </a:cxnLst>
              <a:rect l="0" t="0" r="r" b="b"/>
              <a:pathLst>
                <a:path w="2641" h="1881">
                  <a:moveTo>
                    <a:pt x="2422" y="1621"/>
                  </a:moveTo>
                  <a:lnTo>
                    <a:pt x="2290" y="1597"/>
                  </a:lnTo>
                  <a:lnTo>
                    <a:pt x="2026" y="1680"/>
                  </a:lnTo>
                  <a:lnTo>
                    <a:pt x="1939" y="1624"/>
                  </a:lnTo>
                  <a:lnTo>
                    <a:pt x="1825" y="1585"/>
                  </a:lnTo>
                  <a:lnTo>
                    <a:pt x="1703" y="1617"/>
                  </a:lnTo>
                  <a:lnTo>
                    <a:pt x="1608" y="1597"/>
                  </a:lnTo>
                  <a:lnTo>
                    <a:pt x="1514" y="1692"/>
                  </a:lnTo>
                  <a:lnTo>
                    <a:pt x="1352" y="1711"/>
                  </a:lnTo>
                  <a:lnTo>
                    <a:pt x="1317" y="1767"/>
                  </a:lnTo>
                  <a:lnTo>
                    <a:pt x="1317" y="1842"/>
                  </a:lnTo>
                  <a:lnTo>
                    <a:pt x="1249" y="1881"/>
                  </a:lnTo>
                  <a:lnTo>
                    <a:pt x="985" y="1813"/>
                  </a:lnTo>
                  <a:lnTo>
                    <a:pt x="797" y="1747"/>
                  </a:lnTo>
                  <a:lnTo>
                    <a:pt x="514" y="1711"/>
                  </a:lnTo>
                  <a:lnTo>
                    <a:pt x="356" y="1699"/>
                  </a:lnTo>
                  <a:lnTo>
                    <a:pt x="276" y="1483"/>
                  </a:lnTo>
                  <a:lnTo>
                    <a:pt x="190" y="1436"/>
                  </a:lnTo>
                  <a:lnTo>
                    <a:pt x="47" y="1444"/>
                  </a:lnTo>
                  <a:lnTo>
                    <a:pt x="0" y="1415"/>
                  </a:lnTo>
                  <a:lnTo>
                    <a:pt x="55" y="1124"/>
                  </a:lnTo>
                  <a:lnTo>
                    <a:pt x="115" y="924"/>
                  </a:lnTo>
                  <a:lnTo>
                    <a:pt x="103" y="861"/>
                  </a:lnTo>
                  <a:lnTo>
                    <a:pt x="103" y="718"/>
                  </a:lnTo>
                  <a:lnTo>
                    <a:pt x="190" y="660"/>
                  </a:lnTo>
                  <a:lnTo>
                    <a:pt x="244" y="435"/>
                  </a:lnTo>
                  <a:lnTo>
                    <a:pt x="358" y="320"/>
                  </a:lnTo>
                  <a:lnTo>
                    <a:pt x="378" y="206"/>
                  </a:lnTo>
                  <a:lnTo>
                    <a:pt x="670" y="0"/>
                  </a:lnTo>
                  <a:lnTo>
                    <a:pt x="757" y="57"/>
                  </a:lnTo>
                  <a:lnTo>
                    <a:pt x="973" y="65"/>
                  </a:lnTo>
                  <a:lnTo>
                    <a:pt x="1128" y="65"/>
                  </a:lnTo>
                  <a:lnTo>
                    <a:pt x="1364" y="73"/>
                  </a:lnTo>
                  <a:lnTo>
                    <a:pt x="1648" y="215"/>
                  </a:lnTo>
                  <a:lnTo>
                    <a:pt x="1864" y="215"/>
                  </a:lnTo>
                  <a:lnTo>
                    <a:pt x="2034" y="403"/>
                  </a:lnTo>
                  <a:lnTo>
                    <a:pt x="2061" y="660"/>
                  </a:lnTo>
                  <a:lnTo>
                    <a:pt x="2184" y="861"/>
                  </a:lnTo>
                  <a:lnTo>
                    <a:pt x="2148" y="924"/>
                  </a:lnTo>
                  <a:lnTo>
                    <a:pt x="2184" y="990"/>
                  </a:lnTo>
                  <a:lnTo>
                    <a:pt x="2432" y="1010"/>
                  </a:lnTo>
                  <a:lnTo>
                    <a:pt x="2452" y="1179"/>
                  </a:lnTo>
                  <a:lnTo>
                    <a:pt x="2534" y="1133"/>
                  </a:lnTo>
                  <a:lnTo>
                    <a:pt x="2602" y="1199"/>
                  </a:lnTo>
                  <a:lnTo>
                    <a:pt x="2602" y="1219"/>
                  </a:lnTo>
                  <a:lnTo>
                    <a:pt x="2641" y="1254"/>
                  </a:lnTo>
                  <a:lnTo>
                    <a:pt x="2581" y="1333"/>
                  </a:lnTo>
                  <a:lnTo>
                    <a:pt x="2467" y="1341"/>
                  </a:lnTo>
                  <a:lnTo>
                    <a:pt x="2393" y="1369"/>
                  </a:lnTo>
                  <a:lnTo>
                    <a:pt x="2372" y="1388"/>
                  </a:lnTo>
                  <a:lnTo>
                    <a:pt x="2467" y="1463"/>
                  </a:lnTo>
                  <a:lnTo>
                    <a:pt x="2421" y="1621"/>
                  </a:lnTo>
                  <a:lnTo>
                    <a:pt x="2422" y="1621"/>
                  </a:lnTo>
                  <a:lnTo>
                    <a:pt x="2422" y="1621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FAF8E45C-3005-4B32-8F2D-695121C073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4703" y="2888614"/>
              <a:ext cx="1478986" cy="963655"/>
            </a:xfrm>
            <a:custGeom>
              <a:avLst/>
              <a:gdLst/>
              <a:ahLst/>
              <a:cxnLst>
                <a:cxn ang="0">
                  <a:pos x="18" y="2242"/>
                </a:cxn>
                <a:cxn ang="0">
                  <a:pos x="293" y="1922"/>
                </a:cxn>
                <a:cxn ang="0">
                  <a:pos x="708" y="1890"/>
                </a:cxn>
                <a:cxn ang="0">
                  <a:pos x="1153" y="1808"/>
                </a:cxn>
                <a:cxn ang="0">
                  <a:pos x="1578" y="1654"/>
                </a:cxn>
                <a:cxn ang="0">
                  <a:pos x="1512" y="1402"/>
                </a:cxn>
                <a:cxn ang="0">
                  <a:pos x="1645" y="1147"/>
                </a:cxn>
                <a:cxn ang="0">
                  <a:pos x="1551" y="965"/>
                </a:cxn>
                <a:cxn ang="0">
                  <a:pos x="1787" y="674"/>
                </a:cxn>
                <a:cxn ang="0">
                  <a:pos x="1775" y="457"/>
                </a:cxn>
                <a:cxn ang="0">
                  <a:pos x="1929" y="283"/>
                </a:cxn>
                <a:cxn ang="0">
                  <a:pos x="2003" y="181"/>
                </a:cxn>
                <a:cxn ang="0">
                  <a:pos x="2165" y="268"/>
                </a:cxn>
                <a:cxn ang="0">
                  <a:pos x="2374" y="315"/>
                </a:cxn>
                <a:cxn ang="0">
                  <a:pos x="3091" y="11"/>
                </a:cxn>
                <a:cxn ang="0">
                  <a:pos x="3100" y="134"/>
                </a:cxn>
                <a:cxn ang="0">
                  <a:pos x="3320" y="220"/>
                </a:cxn>
                <a:cxn ang="0">
                  <a:pos x="3537" y="229"/>
                </a:cxn>
                <a:cxn ang="0">
                  <a:pos x="4018" y="445"/>
                </a:cxn>
                <a:cxn ang="0">
                  <a:pos x="4199" y="681"/>
                </a:cxn>
                <a:cxn ang="0">
                  <a:pos x="4502" y="740"/>
                </a:cxn>
                <a:cxn ang="0">
                  <a:pos x="4803" y="929"/>
                </a:cxn>
                <a:cxn ang="0">
                  <a:pos x="4653" y="1118"/>
                </a:cxn>
                <a:cxn ang="0">
                  <a:pos x="4490" y="1296"/>
                </a:cxn>
                <a:cxn ang="0">
                  <a:pos x="4456" y="1485"/>
                </a:cxn>
                <a:cxn ang="0">
                  <a:pos x="4566" y="1721"/>
                </a:cxn>
                <a:cxn ang="0">
                  <a:pos x="4254" y="1796"/>
                </a:cxn>
                <a:cxn ang="0">
                  <a:pos x="4235" y="2024"/>
                </a:cxn>
                <a:cxn ang="0">
                  <a:pos x="4208" y="2167"/>
                </a:cxn>
                <a:cxn ang="0">
                  <a:pos x="4208" y="2431"/>
                </a:cxn>
                <a:cxn ang="0">
                  <a:pos x="4018" y="2725"/>
                </a:cxn>
                <a:cxn ang="0">
                  <a:pos x="3829" y="2788"/>
                </a:cxn>
                <a:cxn ang="0">
                  <a:pos x="3706" y="3057"/>
                </a:cxn>
                <a:cxn ang="0">
                  <a:pos x="3225" y="3529"/>
                </a:cxn>
                <a:cxn ang="0">
                  <a:pos x="2571" y="3659"/>
                </a:cxn>
                <a:cxn ang="0">
                  <a:pos x="2193" y="3734"/>
                </a:cxn>
                <a:cxn ang="0">
                  <a:pos x="1957" y="3840"/>
                </a:cxn>
                <a:cxn ang="0">
                  <a:pos x="1917" y="3718"/>
                </a:cxn>
                <a:cxn ang="0">
                  <a:pos x="1767" y="3529"/>
                </a:cxn>
                <a:cxn ang="0">
                  <a:pos x="1823" y="3198"/>
                </a:cxn>
                <a:cxn ang="0">
                  <a:pos x="1645" y="3140"/>
                </a:cxn>
                <a:cxn ang="0">
                  <a:pos x="1617" y="2848"/>
                </a:cxn>
                <a:cxn ang="0">
                  <a:pos x="1578" y="2659"/>
                </a:cxn>
                <a:cxn ang="0">
                  <a:pos x="1349" y="2524"/>
                </a:cxn>
                <a:cxn ang="0">
                  <a:pos x="963" y="2592"/>
                </a:cxn>
                <a:cxn ang="0">
                  <a:pos x="708" y="2611"/>
                </a:cxn>
                <a:cxn ang="0">
                  <a:pos x="672" y="2477"/>
                </a:cxn>
                <a:cxn ang="0">
                  <a:pos x="186" y="2422"/>
                </a:cxn>
                <a:cxn ang="0">
                  <a:pos x="0" y="2522"/>
                </a:cxn>
              </a:cxnLst>
              <a:rect l="0" t="0" r="r" b="b"/>
              <a:pathLst>
                <a:path w="4803" h="3840">
                  <a:moveTo>
                    <a:pt x="0" y="2522"/>
                  </a:moveTo>
                  <a:lnTo>
                    <a:pt x="18" y="2242"/>
                  </a:lnTo>
                  <a:lnTo>
                    <a:pt x="159" y="2119"/>
                  </a:lnTo>
                  <a:lnTo>
                    <a:pt x="293" y="1922"/>
                  </a:lnTo>
                  <a:lnTo>
                    <a:pt x="640" y="1856"/>
                  </a:lnTo>
                  <a:lnTo>
                    <a:pt x="708" y="1890"/>
                  </a:lnTo>
                  <a:lnTo>
                    <a:pt x="829" y="1788"/>
                  </a:lnTo>
                  <a:lnTo>
                    <a:pt x="1153" y="1808"/>
                  </a:lnTo>
                  <a:lnTo>
                    <a:pt x="1361" y="1827"/>
                  </a:lnTo>
                  <a:lnTo>
                    <a:pt x="1578" y="1654"/>
                  </a:lnTo>
                  <a:lnTo>
                    <a:pt x="1586" y="1438"/>
                  </a:lnTo>
                  <a:lnTo>
                    <a:pt x="1512" y="1402"/>
                  </a:lnTo>
                  <a:lnTo>
                    <a:pt x="1503" y="1363"/>
                  </a:lnTo>
                  <a:lnTo>
                    <a:pt x="1645" y="1147"/>
                  </a:lnTo>
                  <a:lnTo>
                    <a:pt x="1598" y="1012"/>
                  </a:lnTo>
                  <a:lnTo>
                    <a:pt x="1551" y="965"/>
                  </a:lnTo>
                  <a:lnTo>
                    <a:pt x="1586" y="740"/>
                  </a:lnTo>
                  <a:lnTo>
                    <a:pt x="1787" y="674"/>
                  </a:lnTo>
                  <a:lnTo>
                    <a:pt x="1787" y="559"/>
                  </a:lnTo>
                  <a:lnTo>
                    <a:pt x="1775" y="457"/>
                  </a:lnTo>
                  <a:lnTo>
                    <a:pt x="1806" y="315"/>
                  </a:lnTo>
                  <a:lnTo>
                    <a:pt x="1929" y="283"/>
                  </a:lnTo>
                  <a:lnTo>
                    <a:pt x="1937" y="181"/>
                  </a:lnTo>
                  <a:lnTo>
                    <a:pt x="2003" y="181"/>
                  </a:lnTo>
                  <a:lnTo>
                    <a:pt x="2059" y="268"/>
                  </a:lnTo>
                  <a:lnTo>
                    <a:pt x="2165" y="268"/>
                  </a:lnTo>
                  <a:lnTo>
                    <a:pt x="2153" y="390"/>
                  </a:lnTo>
                  <a:lnTo>
                    <a:pt x="2374" y="315"/>
                  </a:lnTo>
                  <a:lnTo>
                    <a:pt x="2875" y="0"/>
                  </a:lnTo>
                  <a:lnTo>
                    <a:pt x="3091" y="11"/>
                  </a:lnTo>
                  <a:lnTo>
                    <a:pt x="3132" y="47"/>
                  </a:lnTo>
                  <a:lnTo>
                    <a:pt x="3100" y="134"/>
                  </a:lnTo>
                  <a:lnTo>
                    <a:pt x="3206" y="220"/>
                  </a:lnTo>
                  <a:lnTo>
                    <a:pt x="3320" y="220"/>
                  </a:lnTo>
                  <a:lnTo>
                    <a:pt x="3383" y="181"/>
                  </a:lnTo>
                  <a:lnTo>
                    <a:pt x="3537" y="229"/>
                  </a:lnTo>
                  <a:lnTo>
                    <a:pt x="3809" y="426"/>
                  </a:lnTo>
                  <a:lnTo>
                    <a:pt x="4018" y="445"/>
                  </a:lnTo>
                  <a:lnTo>
                    <a:pt x="4160" y="587"/>
                  </a:lnTo>
                  <a:lnTo>
                    <a:pt x="4199" y="681"/>
                  </a:lnTo>
                  <a:lnTo>
                    <a:pt x="4247" y="720"/>
                  </a:lnTo>
                  <a:lnTo>
                    <a:pt x="4502" y="740"/>
                  </a:lnTo>
                  <a:lnTo>
                    <a:pt x="4740" y="863"/>
                  </a:lnTo>
                  <a:lnTo>
                    <a:pt x="4803" y="929"/>
                  </a:lnTo>
                  <a:lnTo>
                    <a:pt x="4767" y="1024"/>
                  </a:lnTo>
                  <a:lnTo>
                    <a:pt x="4653" y="1118"/>
                  </a:lnTo>
                  <a:lnTo>
                    <a:pt x="4597" y="1229"/>
                  </a:lnTo>
                  <a:lnTo>
                    <a:pt x="4490" y="1296"/>
                  </a:lnTo>
                  <a:lnTo>
                    <a:pt x="4456" y="1410"/>
                  </a:lnTo>
                  <a:lnTo>
                    <a:pt x="4456" y="1485"/>
                  </a:lnTo>
                  <a:lnTo>
                    <a:pt x="4577" y="1627"/>
                  </a:lnTo>
                  <a:lnTo>
                    <a:pt x="4566" y="1721"/>
                  </a:lnTo>
                  <a:lnTo>
                    <a:pt x="4424" y="1721"/>
                  </a:lnTo>
                  <a:lnTo>
                    <a:pt x="4254" y="1796"/>
                  </a:lnTo>
                  <a:lnTo>
                    <a:pt x="4208" y="1890"/>
                  </a:lnTo>
                  <a:lnTo>
                    <a:pt x="4235" y="2024"/>
                  </a:lnTo>
                  <a:lnTo>
                    <a:pt x="4247" y="2091"/>
                  </a:lnTo>
                  <a:lnTo>
                    <a:pt x="4208" y="2167"/>
                  </a:lnTo>
                  <a:lnTo>
                    <a:pt x="4235" y="2336"/>
                  </a:lnTo>
                  <a:lnTo>
                    <a:pt x="4208" y="2431"/>
                  </a:lnTo>
                  <a:lnTo>
                    <a:pt x="4057" y="2659"/>
                  </a:lnTo>
                  <a:lnTo>
                    <a:pt x="4018" y="2725"/>
                  </a:lnTo>
                  <a:lnTo>
                    <a:pt x="3904" y="2713"/>
                  </a:lnTo>
                  <a:lnTo>
                    <a:pt x="3829" y="2788"/>
                  </a:lnTo>
                  <a:lnTo>
                    <a:pt x="3809" y="2970"/>
                  </a:lnTo>
                  <a:lnTo>
                    <a:pt x="3706" y="3057"/>
                  </a:lnTo>
                  <a:lnTo>
                    <a:pt x="3584" y="3388"/>
                  </a:lnTo>
                  <a:lnTo>
                    <a:pt x="3225" y="3529"/>
                  </a:lnTo>
                  <a:lnTo>
                    <a:pt x="2923" y="3509"/>
                  </a:lnTo>
                  <a:lnTo>
                    <a:pt x="2571" y="3659"/>
                  </a:lnTo>
                  <a:lnTo>
                    <a:pt x="2430" y="3706"/>
                  </a:lnTo>
                  <a:lnTo>
                    <a:pt x="2193" y="3734"/>
                  </a:lnTo>
                  <a:lnTo>
                    <a:pt x="2138" y="3820"/>
                  </a:lnTo>
                  <a:lnTo>
                    <a:pt x="1957" y="3840"/>
                  </a:lnTo>
                  <a:lnTo>
                    <a:pt x="1901" y="3781"/>
                  </a:lnTo>
                  <a:lnTo>
                    <a:pt x="1917" y="3718"/>
                  </a:lnTo>
                  <a:lnTo>
                    <a:pt x="1806" y="3604"/>
                  </a:lnTo>
                  <a:lnTo>
                    <a:pt x="1767" y="3529"/>
                  </a:lnTo>
                  <a:lnTo>
                    <a:pt x="1842" y="3273"/>
                  </a:lnTo>
                  <a:lnTo>
                    <a:pt x="1823" y="3198"/>
                  </a:lnTo>
                  <a:lnTo>
                    <a:pt x="1712" y="3186"/>
                  </a:lnTo>
                  <a:lnTo>
                    <a:pt x="1645" y="3140"/>
                  </a:lnTo>
                  <a:lnTo>
                    <a:pt x="1570" y="2922"/>
                  </a:lnTo>
                  <a:lnTo>
                    <a:pt x="1617" y="2848"/>
                  </a:lnTo>
                  <a:lnTo>
                    <a:pt x="1551" y="2725"/>
                  </a:lnTo>
                  <a:lnTo>
                    <a:pt x="1578" y="2659"/>
                  </a:lnTo>
                  <a:lnTo>
                    <a:pt x="1524" y="2584"/>
                  </a:lnTo>
                  <a:lnTo>
                    <a:pt x="1349" y="2524"/>
                  </a:lnTo>
                  <a:lnTo>
                    <a:pt x="1220" y="2611"/>
                  </a:lnTo>
                  <a:lnTo>
                    <a:pt x="963" y="2592"/>
                  </a:lnTo>
                  <a:lnTo>
                    <a:pt x="869" y="2647"/>
                  </a:lnTo>
                  <a:lnTo>
                    <a:pt x="708" y="2611"/>
                  </a:lnTo>
                  <a:lnTo>
                    <a:pt x="708" y="2545"/>
                  </a:lnTo>
                  <a:lnTo>
                    <a:pt x="672" y="2477"/>
                  </a:lnTo>
                  <a:lnTo>
                    <a:pt x="395" y="2489"/>
                  </a:lnTo>
                  <a:lnTo>
                    <a:pt x="186" y="2422"/>
                  </a:lnTo>
                  <a:lnTo>
                    <a:pt x="0" y="2522"/>
                  </a:lnTo>
                  <a:lnTo>
                    <a:pt x="0" y="2522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EA56271-BEB5-478F-A18A-33BCEA67A10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3594" y="3199024"/>
              <a:ext cx="933947" cy="782970"/>
            </a:xfrm>
            <a:custGeom>
              <a:avLst/>
              <a:gdLst/>
              <a:ahLst/>
              <a:cxnLst>
                <a:cxn ang="0">
                  <a:pos x="2192" y="2373"/>
                </a:cxn>
                <a:cxn ang="0">
                  <a:pos x="2366" y="2249"/>
                </a:cxn>
                <a:cxn ang="0">
                  <a:pos x="2543" y="2013"/>
                </a:cxn>
                <a:cxn ang="0">
                  <a:pos x="2543" y="1945"/>
                </a:cxn>
                <a:cxn ang="0">
                  <a:pos x="2638" y="1843"/>
                </a:cxn>
                <a:cxn ang="0">
                  <a:pos x="2704" y="1662"/>
                </a:cxn>
                <a:cxn ang="0">
                  <a:pos x="2846" y="1445"/>
                </a:cxn>
                <a:cxn ang="0">
                  <a:pos x="3016" y="1323"/>
                </a:cxn>
                <a:cxn ang="0">
                  <a:pos x="3018" y="1281"/>
                </a:cxn>
                <a:cxn ang="0">
                  <a:pos x="3036" y="1001"/>
                </a:cxn>
                <a:cxn ang="0">
                  <a:pos x="2922" y="926"/>
                </a:cxn>
                <a:cxn ang="0">
                  <a:pos x="2618" y="804"/>
                </a:cxn>
                <a:cxn ang="0">
                  <a:pos x="2307" y="661"/>
                </a:cxn>
                <a:cxn ang="0">
                  <a:pos x="2212" y="661"/>
                </a:cxn>
                <a:cxn ang="0">
                  <a:pos x="2184" y="634"/>
                </a:cxn>
                <a:cxn ang="0">
                  <a:pos x="2239" y="547"/>
                </a:cxn>
                <a:cxn ang="0">
                  <a:pos x="2192" y="508"/>
                </a:cxn>
                <a:cxn ang="0">
                  <a:pos x="2118" y="508"/>
                </a:cxn>
                <a:cxn ang="0">
                  <a:pos x="2098" y="358"/>
                </a:cxn>
                <a:cxn ang="0">
                  <a:pos x="1948" y="263"/>
                </a:cxn>
                <a:cxn ang="0">
                  <a:pos x="1853" y="55"/>
                </a:cxn>
                <a:cxn ang="0">
                  <a:pos x="1764" y="45"/>
                </a:cxn>
                <a:cxn ang="0">
                  <a:pos x="1719" y="122"/>
                </a:cxn>
                <a:cxn ang="0">
                  <a:pos x="1656" y="122"/>
                </a:cxn>
                <a:cxn ang="0">
                  <a:pos x="1475" y="94"/>
                </a:cxn>
                <a:cxn ang="0">
                  <a:pos x="1353" y="177"/>
                </a:cxn>
                <a:cxn ang="0">
                  <a:pos x="833" y="0"/>
                </a:cxn>
                <a:cxn ang="0">
                  <a:pos x="758" y="35"/>
                </a:cxn>
                <a:cxn ang="0">
                  <a:pos x="595" y="67"/>
                </a:cxn>
                <a:cxn ang="0">
                  <a:pos x="481" y="197"/>
                </a:cxn>
                <a:cxn ang="0">
                  <a:pos x="284" y="338"/>
                </a:cxn>
                <a:cxn ang="0">
                  <a:pos x="218" y="460"/>
                </a:cxn>
                <a:cxn ang="0">
                  <a:pos x="63" y="1086"/>
                </a:cxn>
                <a:cxn ang="0">
                  <a:pos x="22" y="1236"/>
                </a:cxn>
                <a:cxn ang="0">
                  <a:pos x="0" y="1312"/>
                </a:cxn>
                <a:cxn ang="0">
                  <a:pos x="36" y="1547"/>
                </a:cxn>
                <a:cxn ang="0">
                  <a:pos x="123" y="1690"/>
                </a:cxn>
                <a:cxn ang="0">
                  <a:pos x="104" y="2256"/>
                </a:cxn>
                <a:cxn ang="0">
                  <a:pos x="150" y="2288"/>
                </a:cxn>
                <a:cxn ang="0">
                  <a:pos x="218" y="2256"/>
                </a:cxn>
                <a:cxn ang="0">
                  <a:pos x="434" y="2316"/>
                </a:cxn>
                <a:cxn ang="0">
                  <a:pos x="624" y="2324"/>
                </a:cxn>
                <a:cxn ang="0">
                  <a:pos x="738" y="2249"/>
                </a:cxn>
                <a:cxn ang="0">
                  <a:pos x="860" y="2336"/>
                </a:cxn>
                <a:cxn ang="0">
                  <a:pos x="982" y="2343"/>
                </a:cxn>
                <a:cxn ang="0">
                  <a:pos x="1076" y="2608"/>
                </a:cxn>
                <a:cxn ang="0">
                  <a:pos x="1105" y="2844"/>
                </a:cxn>
                <a:cxn ang="0">
                  <a:pos x="1151" y="3006"/>
                </a:cxn>
                <a:cxn ang="0">
                  <a:pos x="1183" y="3072"/>
                </a:cxn>
                <a:cxn ang="0">
                  <a:pos x="1278" y="3108"/>
                </a:cxn>
                <a:cxn ang="0">
                  <a:pos x="1494" y="3013"/>
                </a:cxn>
                <a:cxn ang="0">
                  <a:pos x="1625" y="3091"/>
                </a:cxn>
                <a:cxn ang="0">
                  <a:pos x="1712" y="3033"/>
                </a:cxn>
                <a:cxn ang="0">
                  <a:pos x="1766" y="2808"/>
                </a:cxn>
                <a:cxn ang="0">
                  <a:pos x="1880" y="2693"/>
                </a:cxn>
                <a:cxn ang="0">
                  <a:pos x="1900" y="2579"/>
                </a:cxn>
                <a:cxn ang="0">
                  <a:pos x="2192" y="2373"/>
                </a:cxn>
                <a:cxn ang="0">
                  <a:pos x="2192" y="2373"/>
                </a:cxn>
              </a:cxnLst>
              <a:rect l="0" t="0" r="r" b="b"/>
              <a:pathLst>
                <a:path w="3036" h="3108">
                  <a:moveTo>
                    <a:pt x="2192" y="2373"/>
                  </a:moveTo>
                  <a:lnTo>
                    <a:pt x="2366" y="2249"/>
                  </a:lnTo>
                  <a:lnTo>
                    <a:pt x="2543" y="2013"/>
                  </a:lnTo>
                  <a:lnTo>
                    <a:pt x="2543" y="1945"/>
                  </a:lnTo>
                  <a:lnTo>
                    <a:pt x="2638" y="1843"/>
                  </a:lnTo>
                  <a:lnTo>
                    <a:pt x="2704" y="1662"/>
                  </a:lnTo>
                  <a:lnTo>
                    <a:pt x="2846" y="1445"/>
                  </a:lnTo>
                  <a:lnTo>
                    <a:pt x="3016" y="1323"/>
                  </a:lnTo>
                  <a:lnTo>
                    <a:pt x="3018" y="1281"/>
                  </a:lnTo>
                  <a:lnTo>
                    <a:pt x="3036" y="1001"/>
                  </a:lnTo>
                  <a:lnTo>
                    <a:pt x="2922" y="926"/>
                  </a:lnTo>
                  <a:lnTo>
                    <a:pt x="2618" y="804"/>
                  </a:lnTo>
                  <a:lnTo>
                    <a:pt x="2307" y="661"/>
                  </a:lnTo>
                  <a:lnTo>
                    <a:pt x="2212" y="661"/>
                  </a:lnTo>
                  <a:lnTo>
                    <a:pt x="2184" y="634"/>
                  </a:lnTo>
                  <a:lnTo>
                    <a:pt x="2239" y="547"/>
                  </a:lnTo>
                  <a:lnTo>
                    <a:pt x="2192" y="508"/>
                  </a:lnTo>
                  <a:lnTo>
                    <a:pt x="2118" y="508"/>
                  </a:lnTo>
                  <a:lnTo>
                    <a:pt x="2098" y="358"/>
                  </a:lnTo>
                  <a:lnTo>
                    <a:pt x="1948" y="263"/>
                  </a:lnTo>
                  <a:lnTo>
                    <a:pt x="1853" y="55"/>
                  </a:lnTo>
                  <a:lnTo>
                    <a:pt x="1764" y="45"/>
                  </a:lnTo>
                  <a:lnTo>
                    <a:pt x="1719" y="122"/>
                  </a:lnTo>
                  <a:lnTo>
                    <a:pt x="1656" y="122"/>
                  </a:lnTo>
                  <a:lnTo>
                    <a:pt x="1475" y="94"/>
                  </a:lnTo>
                  <a:lnTo>
                    <a:pt x="1353" y="177"/>
                  </a:lnTo>
                  <a:lnTo>
                    <a:pt x="833" y="0"/>
                  </a:lnTo>
                  <a:lnTo>
                    <a:pt x="758" y="35"/>
                  </a:lnTo>
                  <a:lnTo>
                    <a:pt x="595" y="67"/>
                  </a:lnTo>
                  <a:lnTo>
                    <a:pt x="481" y="197"/>
                  </a:lnTo>
                  <a:lnTo>
                    <a:pt x="284" y="338"/>
                  </a:lnTo>
                  <a:lnTo>
                    <a:pt x="218" y="460"/>
                  </a:lnTo>
                  <a:lnTo>
                    <a:pt x="63" y="1086"/>
                  </a:lnTo>
                  <a:lnTo>
                    <a:pt x="22" y="1236"/>
                  </a:lnTo>
                  <a:lnTo>
                    <a:pt x="0" y="1312"/>
                  </a:lnTo>
                  <a:lnTo>
                    <a:pt x="36" y="1547"/>
                  </a:lnTo>
                  <a:lnTo>
                    <a:pt x="123" y="1690"/>
                  </a:lnTo>
                  <a:lnTo>
                    <a:pt x="104" y="2256"/>
                  </a:lnTo>
                  <a:lnTo>
                    <a:pt x="150" y="2288"/>
                  </a:lnTo>
                  <a:lnTo>
                    <a:pt x="218" y="2256"/>
                  </a:lnTo>
                  <a:lnTo>
                    <a:pt x="434" y="2316"/>
                  </a:lnTo>
                  <a:lnTo>
                    <a:pt x="624" y="2324"/>
                  </a:lnTo>
                  <a:lnTo>
                    <a:pt x="738" y="2249"/>
                  </a:lnTo>
                  <a:lnTo>
                    <a:pt x="860" y="2336"/>
                  </a:lnTo>
                  <a:lnTo>
                    <a:pt x="982" y="2343"/>
                  </a:lnTo>
                  <a:lnTo>
                    <a:pt x="1076" y="2608"/>
                  </a:lnTo>
                  <a:lnTo>
                    <a:pt x="1105" y="2844"/>
                  </a:lnTo>
                  <a:lnTo>
                    <a:pt x="1151" y="3006"/>
                  </a:lnTo>
                  <a:lnTo>
                    <a:pt x="1183" y="3072"/>
                  </a:lnTo>
                  <a:lnTo>
                    <a:pt x="1278" y="3108"/>
                  </a:lnTo>
                  <a:lnTo>
                    <a:pt x="1494" y="3013"/>
                  </a:lnTo>
                  <a:lnTo>
                    <a:pt x="1625" y="3091"/>
                  </a:lnTo>
                  <a:lnTo>
                    <a:pt x="1712" y="3033"/>
                  </a:lnTo>
                  <a:lnTo>
                    <a:pt x="1766" y="2808"/>
                  </a:lnTo>
                  <a:lnTo>
                    <a:pt x="1880" y="2693"/>
                  </a:lnTo>
                  <a:lnTo>
                    <a:pt x="1900" y="2579"/>
                  </a:lnTo>
                  <a:lnTo>
                    <a:pt x="2192" y="2373"/>
                  </a:lnTo>
                  <a:lnTo>
                    <a:pt x="2192" y="2373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8A9EAAC1-3F6E-40C7-970C-45EFD2C680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5150" y="2645385"/>
              <a:ext cx="970851" cy="803818"/>
            </a:xfrm>
            <a:custGeom>
              <a:avLst/>
              <a:gdLst/>
              <a:ahLst/>
              <a:cxnLst>
                <a:cxn ang="0">
                  <a:pos x="3094" y="347"/>
                </a:cxn>
                <a:cxn ang="0">
                  <a:pos x="3102" y="516"/>
                </a:cxn>
                <a:cxn ang="0">
                  <a:pos x="3000" y="717"/>
                </a:cxn>
                <a:cxn ang="0">
                  <a:pos x="3150" y="1111"/>
                </a:cxn>
                <a:cxn ang="0">
                  <a:pos x="2988" y="1237"/>
                </a:cxn>
                <a:cxn ang="0">
                  <a:pos x="2866" y="1150"/>
                </a:cxn>
                <a:cxn ang="0">
                  <a:pos x="2735" y="1284"/>
                </a:cxn>
                <a:cxn ang="0">
                  <a:pos x="2716" y="1528"/>
                </a:cxn>
                <a:cxn ang="0">
                  <a:pos x="2515" y="1709"/>
                </a:cxn>
                <a:cxn ang="0">
                  <a:pos x="2527" y="1981"/>
                </a:cxn>
                <a:cxn ang="0">
                  <a:pos x="2432" y="2332"/>
                </a:cxn>
                <a:cxn ang="0">
                  <a:pos x="2515" y="2407"/>
                </a:cxn>
                <a:cxn ang="0">
                  <a:pos x="2290" y="2796"/>
                </a:cxn>
                <a:cxn ang="0">
                  <a:pos x="1758" y="2757"/>
                </a:cxn>
                <a:cxn ang="0">
                  <a:pos x="1569" y="2825"/>
                </a:cxn>
                <a:cxn ang="0">
                  <a:pos x="1088" y="3088"/>
                </a:cxn>
                <a:cxn ang="0">
                  <a:pos x="833" y="3136"/>
                </a:cxn>
                <a:cxn ang="0">
                  <a:pos x="218" y="2871"/>
                </a:cxn>
                <a:cxn ang="0">
                  <a:pos x="95" y="2844"/>
                </a:cxn>
                <a:cxn ang="0">
                  <a:pos x="103" y="2718"/>
                </a:cxn>
                <a:cxn ang="0">
                  <a:pos x="9" y="2568"/>
                </a:cxn>
                <a:cxn ang="0">
                  <a:pos x="56" y="2075"/>
                </a:cxn>
                <a:cxn ang="0">
                  <a:pos x="418" y="1623"/>
                </a:cxn>
                <a:cxn ang="0">
                  <a:pos x="718" y="1252"/>
                </a:cxn>
                <a:cxn ang="0">
                  <a:pos x="833" y="1237"/>
                </a:cxn>
                <a:cxn ang="0">
                  <a:pos x="1049" y="543"/>
                </a:cxn>
                <a:cxn ang="0">
                  <a:pos x="1380" y="0"/>
                </a:cxn>
                <a:cxn ang="0">
                  <a:pos x="1695" y="305"/>
                </a:cxn>
                <a:cxn ang="0">
                  <a:pos x="1962" y="227"/>
                </a:cxn>
                <a:cxn ang="0">
                  <a:pos x="2139" y="266"/>
                </a:cxn>
                <a:cxn ang="0">
                  <a:pos x="2356" y="217"/>
                </a:cxn>
                <a:cxn ang="0">
                  <a:pos x="2504" y="335"/>
                </a:cxn>
                <a:cxn ang="0">
                  <a:pos x="2927" y="266"/>
                </a:cxn>
                <a:cxn ang="0">
                  <a:pos x="3048" y="279"/>
                </a:cxn>
              </a:cxnLst>
              <a:rect l="0" t="0" r="r" b="b"/>
              <a:pathLst>
                <a:path w="3150" h="3211">
                  <a:moveTo>
                    <a:pt x="3048" y="279"/>
                  </a:moveTo>
                  <a:lnTo>
                    <a:pt x="3094" y="347"/>
                  </a:lnTo>
                  <a:lnTo>
                    <a:pt x="3075" y="374"/>
                  </a:lnTo>
                  <a:lnTo>
                    <a:pt x="3102" y="516"/>
                  </a:lnTo>
                  <a:lnTo>
                    <a:pt x="3027" y="591"/>
                  </a:lnTo>
                  <a:lnTo>
                    <a:pt x="3000" y="717"/>
                  </a:lnTo>
                  <a:lnTo>
                    <a:pt x="3130" y="941"/>
                  </a:lnTo>
                  <a:lnTo>
                    <a:pt x="3150" y="1111"/>
                  </a:lnTo>
                  <a:lnTo>
                    <a:pt x="3094" y="1237"/>
                  </a:lnTo>
                  <a:lnTo>
                    <a:pt x="2988" y="1237"/>
                  </a:lnTo>
                  <a:lnTo>
                    <a:pt x="2932" y="1150"/>
                  </a:lnTo>
                  <a:lnTo>
                    <a:pt x="2866" y="1150"/>
                  </a:lnTo>
                  <a:lnTo>
                    <a:pt x="2858" y="1252"/>
                  </a:lnTo>
                  <a:lnTo>
                    <a:pt x="2735" y="1284"/>
                  </a:lnTo>
                  <a:lnTo>
                    <a:pt x="2704" y="1426"/>
                  </a:lnTo>
                  <a:lnTo>
                    <a:pt x="2716" y="1528"/>
                  </a:lnTo>
                  <a:lnTo>
                    <a:pt x="2716" y="1643"/>
                  </a:lnTo>
                  <a:lnTo>
                    <a:pt x="2515" y="1709"/>
                  </a:lnTo>
                  <a:lnTo>
                    <a:pt x="2480" y="1934"/>
                  </a:lnTo>
                  <a:lnTo>
                    <a:pt x="2527" y="1981"/>
                  </a:lnTo>
                  <a:lnTo>
                    <a:pt x="2574" y="2116"/>
                  </a:lnTo>
                  <a:lnTo>
                    <a:pt x="2432" y="2332"/>
                  </a:lnTo>
                  <a:lnTo>
                    <a:pt x="2441" y="2371"/>
                  </a:lnTo>
                  <a:lnTo>
                    <a:pt x="2515" y="2407"/>
                  </a:lnTo>
                  <a:lnTo>
                    <a:pt x="2507" y="2623"/>
                  </a:lnTo>
                  <a:lnTo>
                    <a:pt x="2290" y="2796"/>
                  </a:lnTo>
                  <a:lnTo>
                    <a:pt x="2082" y="2777"/>
                  </a:lnTo>
                  <a:lnTo>
                    <a:pt x="1758" y="2757"/>
                  </a:lnTo>
                  <a:lnTo>
                    <a:pt x="1637" y="2859"/>
                  </a:lnTo>
                  <a:lnTo>
                    <a:pt x="1569" y="2825"/>
                  </a:lnTo>
                  <a:lnTo>
                    <a:pt x="1222" y="2891"/>
                  </a:lnTo>
                  <a:lnTo>
                    <a:pt x="1088" y="3088"/>
                  </a:lnTo>
                  <a:lnTo>
                    <a:pt x="947" y="3211"/>
                  </a:lnTo>
                  <a:lnTo>
                    <a:pt x="833" y="3136"/>
                  </a:lnTo>
                  <a:lnTo>
                    <a:pt x="529" y="3014"/>
                  </a:lnTo>
                  <a:lnTo>
                    <a:pt x="218" y="2871"/>
                  </a:lnTo>
                  <a:lnTo>
                    <a:pt x="123" y="2871"/>
                  </a:lnTo>
                  <a:lnTo>
                    <a:pt x="95" y="2844"/>
                  </a:lnTo>
                  <a:lnTo>
                    <a:pt x="150" y="2757"/>
                  </a:lnTo>
                  <a:lnTo>
                    <a:pt x="103" y="2718"/>
                  </a:lnTo>
                  <a:lnTo>
                    <a:pt x="29" y="2718"/>
                  </a:lnTo>
                  <a:lnTo>
                    <a:pt x="9" y="2568"/>
                  </a:lnTo>
                  <a:lnTo>
                    <a:pt x="0" y="2293"/>
                  </a:lnTo>
                  <a:lnTo>
                    <a:pt x="56" y="2075"/>
                  </a:lnTo>
                  <a:lnTo>
                    <a:pt x="257" y="1859"/>
                  </a:lnTo>
                  <a:lnTo>
                    <a:pt x="418" y="1623"/>
                  </a:lnTo>
                  <a:lnTo>
                    <a:pt x="541" y="1584"/>
                  </a:lnTo>
                  <a:lnTo>
                    <a:pt x="718" y="1252"/>
                  </a:lnTo>
                  <a:lnTo>
                    <a:pt x="785" y="1218"/>
                  </a:lnTo>
                  <a:lnTo>
                    <a:pt x="833" y="1237"/>
                  </a:lnTo>
                  <a:lnTo>
                    <a:pt x="954" y="1016"/>
                  </a:lnTo>
                  <a:lnTo>
                    <a:pt x="1049" y="543"/>
                  </a:lnTo>
                  <a:lnTo>
                    <a:pt x="1163" y="327"/>
                  </a:lnTo>
                  <a:lnTo>
                    <a:pt x="1380" y="0"/>
                  </a:lnTo>
                  <a:lnTo>
                    <a:pt x="1557" y="9"/>
                  </a:lnTo>
                  <a:lnTo>
                    <a:pt x="1695" y="305"/>
                  </a:lnTo>
                  <a:lnTo>
                    <a:pt x="1774" y="177"/>
                  </a:lnTo>
                  <a:lnTo>
                    <a:pt x="1962" y="227"/>
                  </a:lnTo>
                  <a:lnTo>
                    <a:pt x="2011" y="344"/>
                  </a:lnTo>
                  <a:lnTo>
                    <a:pt x="2139" y="266"/>
                  </a:lnTo>
                  <a:lnTo>
                    <a:pt x="2366" y="305"/>
                  </a:lnTo>
                  <a:lnTo>
                    <a:pt x="2356" y="217"/>
                  </a:lnTo>
                  <a:lnTo>
                    <a:pt x="2414" y="217"/>
                  </a:lnTo>
                  <a:lnTo>
                    <a:pt x="2504" y="335"/>
                  </a:lnTo>
                  <a:lnTo>
                    <a:pt x="2868" y="374"/>
                  </a:lnTo>
                  <a:lnTo>
                    <a:pt x="2927" y="266"/>
                  </a:lnTo>
                  <a:lnTo>
                    <a:pt x="3048" y="279"/>
                  </a:lnTo>
                  <a:lnTo>
                    <a:pt x="3048" y="279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BF3889A6-8678-402D-A199-4E5E98F1EF5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5799" y="1841565"/>
              <a:ext cx="672782" cy="896477"/>
            </a:xfrm>
            <a:custGeom>
              <a:avLst/>
              <a:gdLst/>
              <a:ahLst/>
              <a:cxnLst>
                <a:cxn ang="0">
                  <a:pos x="1952" y="3474"/>
                </a:cxn>
                <a:cxn ang="0">
                  <a:pos x="1831" y="3461"/>
                </a:cxn>
                <a:cxn ang="0">
                  <a:pos x="1772" y="3569"/>
                </a:cxn>
                <a:cxn ang="0">
                  <a:pos x="1408" y="3530"/>
                </a:cxn>
                <a:cxn ang="0">
                  <a:pos x="1318" y="3412"/>
                </a:cxn>
                <a:cxn ang="0">
                  <a:pos x="1260" y="3412"/>
                </a:cxn>
                <a:cxn ang="0">
                  <a:pos x="1270" y="3500"/>
                </a:cxn>
                <a:cxn ang="0">
                  <a:pos x="1043" y="3461"/>
                </a:cxn>
                <a:cxn ang="0">
                  <a:pos x="915" y="3539"/>
                </a:cxn>
                <a:cxn ang="0">
                  <a:pos x="866" y="3422"/>
                </a:cxn>
                <a:cxn ang="0">
                  <a:pos x="678" y="3372"/>
                </a:cxn>
                <a:cxn ang="0">
                  <a:pos x="599" y="3500"/>
                </a:cxn>
                <a:cxn ang="0">
                  <a:pos x="461" y="3204"/>
                </a:cxn>
                <a:cxn ang="0">
                  <a:pos x="284" y="3195"/>
                </a:cxn>
                <a:cxn ang="0">
                  <a:pos x="67" y="3522"/>
                </a:cxn>
                <a:cxn ang="0">
                  <a:pos x="0" y="3297"/>
                </a:cxn>
                <a:cxn ang="0">
                  <a:pos x="0" y="2711"/>
                </a:cxn>
                <a:cxn ang="0">
                  <a:pos x="189" y="2116"/>
                </a:cxn>
                <a:cxn ang="0">
                  <a:pos x="398" y="1765"/>
                </a:cxn>
                <a:cxn ang="0">
                  <a:pos x="587" y="1517"/>
                </a:cxn>
                <a:cxn ang="0">
                  <a:pos x="674" y="1198"/>
                </a:cxn>
                <a:cxn ang="0">
                  <a:pos x="627" y="1076"/>
                </a:cxn>
                <a:cxn ang="0">
                  <a:pos x="694" y="875"/>
                </a:cxn>
                <a:cxn ang="0">
                  <a:pos x="694" y="808"/>
                </a:cxn>
                <a:cxn ang="0">
                  <a:pos x="852" y="713"/>
                </a:cxn>
                <a:cxn ang="0">
                  <a:pos x="1053" y="489"/>
                </a:cxn>
                <a:cxn ang="0">
                  <a:pos x="1136" y="194"/>
                </a:cxn>
                <a:cxn ang="0">
                  <a:pos x="1061" y="138"/>
                </a:cxn>
                <a:cxn ang="0">
                  <a:pos x="930" y="111"/>
                </a:cxn>
                <a:cxn ang="0">
                  <a:pos x="1043" y="0"/>
                </a:cxn>
                <a:cxn ang="0">
                  <a:pos x="1182" y="72"/>
                </a:cxn>
                <a:cxn ang="0">
                  <a:pos x="1297" y="72"/>
                </a:cxn>
                <a:cxn ang="0">
                  <a:pos x="1459" y="233"/>
                </a:cxn>
                <a:cxn ang="0">
                  <a:pos x="1478" y="667"/>
                </a:cxn>
                <a:cxn ang="0">
                  <a:pos x="1411" y="847"/>
                </a:cxn>
                <a:cxn ang="0">
                  <a:pos x="1345" y="915"/>
                </a:cxn>
                <a:cxn ang="0">
                  <a:pos x="1439" y="970"/>
                </a:cxn>
                <a:cxn ang="0">
                  <a:pos x="1459" y="1065"/>
                </a:cxn>
                <a:cxn ang="0">
                  <a:pos x="1648" y="1301"/>
                </a:cxn>
                <a:cxn ang="0">
                  <a:pos x="1797" y="1265"/>
                </a:cxn>
                <a:cxn ang="0">
                  <a:pos x="1877" y="1313"/>
                </a:cxn>
                <a:cxn ang="0">
                  <a:pos x="1877" y="1442"/>
                </a:cxn>
                <a:cxn ang="0">
                  <a:pos x="1734" y="1509"/>
                </a:cxn>
                <a:cxn ang="0">
                  <a:pos x="1627" y="1745"/>
                </a:cxn>
                <a:cxn ang="0">
                  <a:pos x="1734" y="1907"/>
                </a:cxn>
                <a:cxn ang="0">
                  <a:pos x="1836" y="2010"/>
                </a:cxn>
                <a:cxn ang="0">
                  <a:pos x="1809" y="2056"/>
                </a:cxn>
                <a:cxn ang="0">
                  <a:pos x="1904" y="2265"/>
                </a:cxn>
                <a:cxn ang="0">
                  <a:pos x="2101" y="2321"/>
                </a:cxn>
                <a:cxn ang="0">
                  <a:pos x="2191" y="2348"/>
                </a:cxn>
                <a:cxn ang="0">
                  <a:pos x="1911" y="2597"/>
                </a:cxn>
                <a:cxn ang="0">
                  <a:pos x="1923" y="2643"/>
                </a:cxn>
                <a:cxn ang="0">
                  <a:pos x="1829" y="2758"/>
                </a:cxn>
                <a:cxn ang="0">
                  <a:pos x="1857" y="2840"/>
                </a:cxn>
                <a:cxn ang="0">
                  <a:pos x="2006" y="2935"/>
                </a:cxn>
                <a:cxn ang="0">
                  <a:pos x="1959" y="3002"/>
                </a:cxn>
                <a:cxn ang="0">
                  <a:pos x="1986" y="3069"/>
                </a:cxn>
                <a:cxn ang="0">
                  <a:pos x="1911" y="3163"/>
                </a:cxn>
                <a:cxn ang="0">
                  <a:pos x="1904" y="3286"/>
                </a:cxn>
                <a:cxn ang="0">
                  <a:pos x="1998" y="3345"/>
                </a:cxn>
                <a:cxn ang="0">
                  <a:pos x="1952" y="3474"/>
                </a:cxn>
                <a:cxn ang="0">
                  <a:pos x="1952" y="3474"/>
                </a:cxn>
              </a:cxnLst>
              <a:rect l="0" t="0" r="r" b="b"/>
              <a:pathLst>
                <a:path w="2191" h="3569">
                  <a:moveTo>
                    <a:pt x="1952" y="3474"/>
                  </a:moveTo>
                  <a:lnTo>
                    <a:pt x="1831" y="3461"/>
                  </a:lnTo>
                  <a:lnTo>
                    <a:pt x="1772" y="3569"/>
                  </a:lnTo>
                  <a:lnTo>
                    <a:pt x="1408" y="3530"/>
                  </a:lnTo>
                  <a:lnTo>
                    <a:pt x="1318" y="3412"/>
                  </a:lnTo>
                  <a:lnTo>
                    <a:pt x="1260" y="3412"/>
                  </a:lnTo>
                  <a:lnTo>
                    <a:pt x="1270" y="3500"/>
                  </a:lnTo>
                  <a:lnTo>
                    <a:pt x="1043" y="3461"/>
                  </a:lnTo>
                  <a:lnTo>
                    <a:pt x="915" y="3539"/>
                  </a:lnTo>
                  <a:lnTo>
                    <a:pt x="866" y="3422"/>
                  </a:lnTo>
                  <a:lnTo>
                    <a:pt x="678" y="3372"/>
                  </a:lnTo>
                  <a:lnTo>
                    <a:pt x="599" y="3500"/>
                  </a:lnTo>
                  <a:lnTo>
                    <a:pt x="461" y="3204"/>
                  </a:lnTo>
                  <a:lnTo>
                    <a:pt x="284" y="3195"/>
                  </a:lnTo>
                  <a:lnTo>
                    <a:pt x="67" y="3522"/>
                  </a:lnTo>
                  <a:lnTo>
                    <a:pt x="0" y="3297"/>
                  </a:lnTo>
                  <a:lnTo>
                    <a:pt x="0" y="2711"/>
                  </a:lnTo>
                  <a:lnTo>
                    <a:pt x="189" y="2116"/>
                  </a:lnTo>
                  <a:lnTo>
                    <a:pt x="398" y="1765"/>
                  </a:lnTo>
                  <a:lnTo>
                    <a:pt x="587" y="1517"/>
                  </a:lnTo>
                  <a:lnTo>
                    <a:pt x="674" y="1198"/>
                  </a:lnTo>
                  <a:lnTo>
                    <a:pt x="627" y="1076"/>
                  </a:lnTo>
                  <a:lnTo>
                    <a:pt x="694" y="875"/>
                  </a:lnTo>
                  <a:lnTo>
                    <a:pt x="694" y="808"/>
                  </a:lnTo>
                  <a:lnTo>
                    <a:pt x="852" y="713"/>
                  </a:lnTo>
                  <a:lnTo>
                    <a:pt x="1053" y="489"/>
                  </a:lnTo>
                  <a:lnTo>
                    <a:pt x="1136" y="194"/>
                  </a:lnTo>
                  <a:lnTo>
                    <a:pt x="1061" y="138"/>
                  </a:lnTo>
                  <a:lnTo>
                    <a:pt x="930" y="111"/>
                  </a:lnTo>
                  <a:lnTo>
                    <a:pt x="1043" y="0"/>
                  </a:lnTo>
                  <a:lnTo>
                    <a:pt x="1182" y="72"/>
                  </a:lnTo>
                  <a:lnTo>
                    <a:pt x="1297" y="72"/>
                  </a:lnTo>
                  <a:lnTo>
                    <a:pt x="1459" y="233"/>
                  </a:lnTo>
                  <a:lnTo>
                    <a:pt x="1478" y="667"/>
                  </a:lnTo>
                  <a:lnTo>
                    <a:pt x="1411" y="847"/>
                  </a:lnTo>
                  <a:lnTo>
                    <a:pt x="1345" y="915"/>
                  </a:lnTo>
                  <a:lnTo>
                    <a:pt x="1439" y="970"/>
                  </a:lnTo>
                  <a:lnTo>
                    <a:pt x="1459" y="1065"/>
                  </a:lnTo>
                  <a:lnTo>
                    <a:pt x="1648" y="1301"/>
                  </a:lnTo>
                  <a:lnTo>
                    <a:pt x="1797" y="1265"/>
                  </a:lnTo>
                  <a:lnTo>
                    <a:pt x="1877" y="1313"/>
                  </a:lnTo>
                  <a:lnTo>
                    <a:pt x="1877" y="1442"/>
                  </a:lnTo>
                  <a:lnTo>
                    <a:pt x="1734" y="1509"/>
                  </a:lnTo>
                  <a:lnTo>
                    <a:pt x="1627" y="1745"/>
                  </a:lnTo>
                  <a:lnTo>
                    <a:pt x="1734" y="1907"/>
                  </a:lnTo>
                  <a:lnTo>
                    <a:pt x="1836" y="2010"/>
                  </a:lnTo>
                  <a:lnTo>
                    <a:pt x="1809" y="2056"/>
                  </a:lnTo>
                  <a:lnTo>
                    <a:pt x="1904" y="2265"/>
                  </a:lnTo>
                  <a:lnTo>
                    <a:pt x="2101" y="2321"/>
                  </a:lnTo>
                  <a:lnTo>
                    <a:pt x="2191" y="2348"/>
                  </a:lnTo>
                  <a:lnTo>
                    <a:pt x="1911" y="2597"/>
                  </a:lnTo>
                  <a:lnTo>
                    <a:pt x="1923" y="2643"/>
                  </a:lnTo>
                  <a:lnTo>
                    <a:pt x="1829" y="2758"/>
                  </a:lnTo>
                  <a:lnTo>
                    <a:pt x="1857" y="2840"/>
                  </a:lnTo>
                  <a:lnTo>
                    <a:pt x="2006" y="2935"/>
                  </a:lnTo>
                  <a:lnTo>
                    <a:pt x="1959" y="3002"/>
                  </a:lnTo>
                  <a:lnTo>
                    <a:pt x="1986" y="3069"/>
                  </a:lnTo>
                  <a:lnTo>
                    <a:pt x="1911" y="3163"/>
                  </a:lnTo>
                  <a:lnTo>
                    <a:pt x="1904" y="3286"/>
                  </a:lnTo>
                  <a:lnTo>
                    <a:pt x="1998" y="3345"/>
                  </a:lnTo>
                  <a:lnTo>
                    <a:pt x="1952" y="3474"/>
                  </a:lnTo>
                  <a:lnTo>
                    <a:pt x="1952" y="3474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C0079EB3-179B-441B-A3AB-F66C2AFA3F2D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871" y="2260849"/>
              <a:ext cx="1217820" cy="1107277"/>
            </a:xfrm>
            <a:custGeom>
              <a:avLst/>
              <a:gdLst/>
              <a:ahLst/>
              <a:cxnLst>
                <a:cxn ang="0">
                  <a:pos x="82" y="927"/>
                </a:cxn>
                <a:cxn ang="0">
                  <a:pos x="0" y="1088"/>
                </a:cxn>
                <a:cxn ang="0">
                  <a:pos x="177" y="1265"/>
                </a:cxn>
                <a:cxn ang="0">
                  <a:pos x="157" y="1399"/>
                </a:cxn>
                <a:cxn ang="0">
                  <a:pos x="75" y="1616"/>
                </a:cxn>
                <a:cxn ang="0">
                  <a:pos x="123" y="1804"/>
                </a:cxn>
                <a:cxn ang="0">
                  <a:pos x="150" y="1899"/>
                </a:cxn>
                <a:cxn ang="0">
                  <a:pos x="102" y="2116"/>
                </a:cxn>
                <a:cxn ang="0">
                  <a:pos x="205" y="2466"/>
                </a:cxn>
                <a:cxn ang="0">
                  <a:pos x="169" y="2762"/>
                </a:cxn>
                <a:cxn ang="0">
                  <a:pos x="378" y="2809"/>
                </a:cxn>
                <a:cxn ang="0">
                  <a:pos x="1095" y="2505"/>
                </a:cxn>
                <a:cxn ang="0">
                  <a:pos x="1104" y="2628"/>
                </a:cxn>
                <a:cxn ang="0">
                  <a:pos x="1324" y="2714"/>
                </a:cxn>
                <a:cxn ang="0">
                  <a:pos x="1541" y="2723"/>
                </a:cxn>
                <a:cxn ang="0">
                  <a:pos x="2022" y="2939"/>
                </a:cxn>
                <a:cxn ang="0">
                  <a:pos x="2203" y="3175"/>
                </a:cxn>
                <a:cxn ang="0">
                  <a:pos x="2506" y="3234"/>
                </a:cxn>
                <a:cxn ang="0">
                  <a:pos x="2807" y="3423"/>
                </a:cxn>
                <a:cxn ang="0">
                  <a:pos x="2657" y="3612"/>
                </a:cxn>
                <a:cxn ang="0">
                  <a:pos x="2494" y="3790"/>
                </a:cxn>
                <a:cxn ang="0">
                  <a:pos x="2460" y="3979"/>
                </a:cxn>
                <a:cxn ang="0">
                  <a:pos x="2570" y="4215"/>
                </a:cxn>
                <a:cxn ang="0">
                  <a:pos x="3035" y="4188"/>
                </a:cxn>
                <a:cxn ang="0">
                  <a:pos x="3216" y="3384"/>
                </a:cxn>
                <a:cxn ang="0">
                  <a:pos x="3177" y="2789"/>
                </a:cxn>
                <a:cxn ang="0">
                  <a:pos x="3204" y="2466"/>
                </a:cxn>
                <a:cxn ang="0">
                  <a:pos x="3224" y="2242"/>
                </a:cxn>
                <a:cxn ang="0">
                  <a:pos x="3346" y="2005"/>
                </a:cxn>
                <a:cxn ang="0">
                  <a:pos x="3433" y="1891"/>
                </a:cxn>
                <a:cxn ang="0">
                  <a:pos x="3548" y="2005"/>
                </a:cxn>
                <a:cxn ang="0">
                  <a:pos x="3961" y="1379"/>
                </a:cxn>
                <a:cxn ang="0">
                  <a:pos x="3764" y="1332"/>
                </a:cxn>
                <a:cxn ang="0">
                  <a:pos x="3799" y="1029"/>
                </a:cxn>
                <a:cxn ang="0">
                  <a:pos x="3811" y="698"/>
                </a:cxn>
                <a:cxn ang="0">
                  <a:pos x="3772" y="473"/>
                </a:cxn>
                <a:cxn ang="0">
                  <a:pos x="3582" y="189"/>
                </a:cxn>
                <a:cxn ang="0">
                  <a:pos x="3461" y="143"/>
                </a:cxn>
                <a:cxn ang="0">
                  <a:pos x="3184" y="0"/>
                </a:cxn>
                <a:cxn ang="0">
                  <a:pos x="2853" y="245"/>
                </a:cxn>
                <a:cxn ang="0">
                  <a:pos x="2751" y="312"/>
                </a:cxn>
                <a:cxn ang="0">
                  <a:pos x="2649" y="386"/>
                </a:cxn>
                <a:cxn ang="0">
                  <a:pos x="2570" y="304"/>
                </a:cxn>
                <a:cxn ang="0">
                  <a:pos x="2487" y="162"/>
                </a:cxn>
                <a:cxn ang="0">
                  <a:pos x="2360" y="31"/>
                </a:cxn>
                <a:cxn ang="0">
                  <a:pos x="2183" y="131"/>
                </a:cxn>
                <a:cxn ang="0">
                  <a:pos x="1899" y="292"/>
                </a:cxn>
                <a:cxn ang="0">
                  <a:pos x="1671" y="398"/>
                </a:cxn>
                <a:cxn ang="0">
                  <a:pos x="1466" y="320"/>
                </a:cxn>
                <a:cxn ang="0">
                  <a:pos x="1245" y="332"/>
                </a:cxn>
                <a:cxn ang="0">
                  <a:pos x="1076" y="823"/>
                </a:cxn>
                <a:cxn ang="0">
                  <a:pos x="772" y="934"/>
                </a:cxn>
                <a:cxn ang="0">
                  <a:pos x="425" y="698"/>
                </a:cxn>
                <a:cxn ang="0">
                  <a:pos x="362" y="678"/>
                </a:cxn>
              </a:cxnLst>
              <a:rect l="0" t="0" r="r" b="b"/>
              <a:pathLst>
                <a:path w="3961" h="4396">
                  <a:moveTo>
                    <a:pt x="362" y="678"/>
                  </a:moveTo>
                  <a:lnTo>
                    <a:pt x="82" y="927"/>
                  </a:lnTo>
                  <a:lnTo>
                    <a:pt x="94" y="973"/>
                  </a:lnTo>
                  <a:lnTo>
                    <a:pt x="0" y="1088"/>
                  </a:lnTo>
                  <a:lnTo>
                    <a:pt x="28" y="1170"/>
                  </a:lnTo>
                  <a:lnTo>
                    <a:pt x="177" y="1265"/>
                  </a:lnTo>
                  <a:lnTo>
                    <a:pt x="130" y="1332"/>
                  </a:lnTo>
                  <a:lnTo>
                    <a:pt x="157" y="1399"/>
                  </a:lnTo>
                  <a:lnTo>
                    <a:pt x="82" y="1493"/>
                  </a:lnTo>
                  <a:lnTo>
                    <a:pt x="75" y="1616"/>
                  </a:lnTo>
                  <a:lnTo>
                    <a:pt x="169" y="1675"/>
                  </a:lnTo>
                  <a:lnTo>
                    <a:pt x="123" y="1804"/>
                  </a:lnTo>
                  <a:lnTo>
                    <a:pt x="169" y="1872"/>
                  </a:lnTo>
                  <a:lnTo>
                    <a:pt x="150" y="1899"/>
                  </a:lnTo>
                  <a:lnTo>
                    <a:pt x="177" y="2041"/>
                  </a:lnTo>
                  <a:lnTo>
                    <a:pt x="102" y="2116"/>
                  </a:lnTo>
                  <a:lnTo>
                    <a:pt x="75" y="2242"/>
                  </a:lnTo>
                  <a:lnTo>
                    <a:pt x="205" y="2466"/>
                  </a:lnTo>
                  <a:lnTo>
                    <a:pt x="225" y="2636"/>
                  </a:lnTo>
                  <a:lnTo>
                    <a:pt x="169" y="2762"/>
                  </a:lnTo>
                  <a:lnTo>
                    <a:pt x="157" y="2884"/>
                  </a:lnTo>
                  <a:lnTo>
                    <a:pt x="378" y="2809"/>
                  </a:lnTo>
                  <a:lnTo>
                    <a:pt x="879" y="2494"/>
                  </a:lnTo>
                  <a:lnTo>
                    <a:pt x="1095" y="2505"/>
                  </a:lnTo>
                  <a:lnTo>
                    <a:pt x="1136" y="2541"/>
                  </a:lnTo>
                  <a:lnTo>
                    <a:pt x="1104" y="2628"/>
                  </a:lnTo>
                  <a:lnTo>
                    <a:pt x="1210" y="2714"/>
                  </a:lnTo>
                  <a:lnTo>
                    <a:pt x="1324" y="2714"/>
                  </a:lnTo>
                  <a:lnTo>
                    <a:pt x="1387" y="2675"/>
                  </a:lnTo>
                  <a:lnTo>
                    <a:pt x="1541" y="2723"/>
                  </a:lnTo>
                  <a:lnTo>
                    <a:pt x="1813" y="2920"/>
                  </a:lnTo>
                  <a:lnTo>
                    <a:pt x="2022" y="2939"/>
                  </a:lnTo>
                  <a:lnTo>
                    <a:pt x="2164" y="3081"/>
                  </a:lnTo>
                  <a:lnTo>
                    <a:pt x="2203" y="3175"/>
                  </a:lnTo>
                  <a:lnTo>
                    <a:pt x="2251" y="3214"/>
                  </a:lnTo>
                  <a:lnTo>
                    <a:pt x="2506" y="3234"/>
                  </a:lnTo>
                  <a:lnTo>
                    <a:pt x="2744" y="3357"/>
                  </a:lnTo>
                  <a:lnTo>
                    <a:pt x="2807" y="3423"/>
                  </a:lnTo>
                  <a:lnTo>
                    <a:pt x="2771" y="3518"/>
                  </a:lnTo>
                  <a:lnTo>
                    <a:pt x="2657" y="3612"/>
                  </a:lnTo>
                  <a:lnTo>
                    <a:pt x="2601" y="3723"/>
                  </a:lnTo>
                  <a:lnTo>
                    <a:pt x="2494" y="3790"/>
                  </a:lnTo>
                  <a:lnTo>
                    <a:pt x="2460" y="3904"/>
                  </a:lnTo>
                  <a:lnTo>
                    <a:pt x="2460" y="3979"/>
                  </a:lnTo>
                  <a:lnTo>
                    <a:pt x="2581" y="4121"/>
                  </a:lnTo>
                  <a:lnTo>
                    <a:pt x="2570" y="4215"/>
                  </a:lnTo>
                  <a:lnTo>
                    <a:pt x="2807" y="4396"/>
                  </a:lnTo>
                  <a:lnTo>
                    <a:pt x="3035" y="4188"/>
                  </a:lnTo>
                  <a:lnTo>
                    <a:pt x="3026" y="3932"/>
                  </a:lnTo>
                  <a:lnTo>
                    <a:pt x="3216" y="3384"/>
                  </a:lnTo>
                  <a:lnTo>
                    <a:pt x="3184" y="3262"/>
                  </a:lnTo>
                  <a:lnTo>
                    <a:pt x="3177" y="2789"/>
                  </a:lnTo>
                  <a:lnTo>
                    <a:pt x="3232" y="2588"/>
                  </a:lnTo>
                  <a:lnTo>
                    <a:pt x="3204" y="2466"/>
                  </a:lnTo>
                  <a:lnTo>
                    <a:pt x="3252" y="2337"/>
                  </a:lnTo>
                  <a:lnTo>
                    <a:pt x="3224" y="2242"/>
                  </a:lnTo>
                  <a:lnTo>
                    <a:pt x="3339" y="2100"/>
                  </a:lnTo>
                  <a:lnTo>
                    <a:pt x="3346" y="2005"/>
                  </a:lnTo>
                  <a:lnTo>
                    <a:pt x="3405" y="1879"/>
                  </a:lnTo>
                  <a:lnTo>
                    <a:pt x="3433" y="1891"/>
                  </a:lnTo>
                  <a:lnTo>
                    <a:pt x="3480" y="2013"/>
                  </a:lnTo>
                  <a:lnTo>
                    <a:pt x="3548" y="2005"/>
                  </a:lnTo>
                  <a:lnTo>
                    <a:pt x="3847" y="1643"/>
                  </a:lnTo>
                  <a:lnTo>
                    <a:pt x="3961" y="1379"/>
                  </a:lnTo>
                  <a:lnTo>
                    <a:pt x="3847" y="1399"/>
                  </a:lnTo>
                  <a:lnTo>
                    <a:pt x="3764" y="1332"/>
                  </a:lnTo>
                  <a:lnTo>
                    <a:pt x="3650" y="1048"/>
                  </a:lnTo>
                  <a:lnTo>
                    <a:pt x="3799" y="1029"/>
                  </a:lnTo>
                  <a:lnTo>
                    <a:pt x="3859" y="777"/>
                  </a:lnTo>
                  <a:lnTo>
                    <a:pt x="3811" y="698"/>
                  </a:lnTo>
                  <a:lnTo>
                    <a:pt x="3764" y="548"/>
                  </a:lnTo>
                  <a:lnTo>
                    <a:pt x="3772" y="473"/>
                  </a:lnTo>
                  <a:lnTo>
                    <a:pt x="3704" y="359"/>
                  </a:lnTo>
                  <a:lnTo>
                    <a:pt x="3582" y="189"/>
                  </a:lnTo>
                  <a:lnTo>
                    <a:pt x="3516" y="218"/>
                  </a:lnTo>
                  <a:lnTo>
                    <a:pt x="3461" y="143"/>
                  </a:lnTo>
                  <a:lnTo>
                    <a:pt x="3298" y="95"/>
                  </a:lnTo>
                  <a:lnTo>
                    <a:pt x="3184" y="0"/>
                  </a:lnTo>
                  <a:lnTo>
                    <a:pt x="2932" y="198"/>
                  </a:lnTo>
                  <a:lnTo>
                    <a:pt x="2853" y="245"/>
                  </a:lnTo>
                  <a:lnTo>
                    <a:pt x="2818" y="237"/>
                  </a:lnTo>
                  <a:lnTo>
                    <a:pt x="2751" y="312"/>
                  </a:lnTo>
                  <a:lnTo>
                    <a:pt x="2723" y="367"/>
                  </a:lnTo>
                  <a:lnTo>
                    <a:pt x="2649" y="386"/>
                  </a:lnTo>
                  <a:lnTo>
                    <a:pt x="2581" y="379"/>
                  </a:lnTo>
                  <a:lnTo>
                    <a:pt x="2570" y="304"/>
                  </a:lnTo>
                  <a:lnTo>
                    <a:pt x="2494" y="218"/>
                  </a:lnTo>
                  <a:lnTo>
                    <a:pt x="2487" y="162"/>
                  </a:lnTo>
                  <a:lnTo>
                    <a:pt x="2460" y="83"/>
                  </a:lnTo>
                  <a:lnTo>
                    <a:pt x="2360" y="31"/>
                  </a:lnTo>
                  <a:lnTo>
                    <a:pt x="2286" y="95"/>
                  </a:lnTo>
                  <a:lnTo>
                    <a:pt x="2183" y="131"/>
                  </a:lnTo>
                  <a:lnTo>
                    <a:pt x="2081" y="272"/>
                  </a:lnTo>
                  <a:lnTo>
                    <a:pt x="1899" y="292"/>
                  </a:lnTo>
                  <a:lnTo>
                    <a:pt x="1785" y="379"/>
                  </a:lnTo>
                  <a:lnTo>
                    <a:pt x="1671" y="398"/>
                  </a:lnTo>
                  <a:lnTo>
                    <a:pt x="1561" y="320"/>
                  </a:lnTo>
                  <a:lnTo>
                    <a:pt x="1466" y="320"/>
                  </a:lnTo>
                  <a:lnTo>
                    <a:pt x="1340" y="284"/>
                  </a:lnTo>
                  <a:lnTo>
                    <a:pt x="1245" y="332"/>
                  </a:lnTo>
                  <a:lnTo>
                    <a:pt x="1245" y="595"/>
                  </a:lnTo>
                  <a:lnTo>
                    <a:pt x="1076" y="823"/>
                  </a:lnTo>
                  <a:lnTo>
                    <a:pt x="898" y="852"/>
                  </a:lnTo>
                  <a:lnTo>
                    <a:pt x="772" y="934"/>
                  </a:lnTo>
                  <a:lnTo>
                    <a:pt x="643" y="946"/>
                  </a:lnTo>
                  <a:lnTo>
                    <a:pt x="425" y="698"/>
                  </a:lnTo>
                  <a:lnTo>
                    <a:pt x="362" y="678"/>
                  </a:lnTo>
                  <a:lnTo>
                    <a:pt x="362" y="678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7A1C41B4-56B6-4B65-9485-4D3C16A973E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9175" y="2378990"/>
              <a:ext cx="244132" cy="233965"/>
            </a:xfrm>
            <a:custGeom>
              <a:avLst/>
              <a:gdLst/>
              <a:ahLst/>
              <a:cxnLst>
                <a:cxn ang="0">
                  <a:pos x="311" y="906"/>
                </a:cxn>
                <a:cxn ang="0">
                  <a:pos x="452" y="729"/>
                </a:cxn>
                <a:cxn ang="0">
                  <a:pos x="717" y="548"/>
                </a:cxn>
                <a:cxn ang="0">
                  <a:pos x="791" y="477"/>
                </a:cxn>
                <a:cxn ang="0">
                  <a:pos x="791" y="475"/>
                </a:cxn>
                <a:cxn ang="0">
                  <a:pos x="607" y="292"/>
                </a:cxn>
                <a:cxn ang="0">
                  <a:pos x="122" y="0"/>
                </a:cxn>
                <a:cxn ang="0">
                  <a:pos x="114" y="75"/>
                </a:cxn>
                <a:cxn ang="0">
                  <a:pos x="161" y="225"/>
                </a:cxn>
                <a:cxn ang="0">
                  <a:pos x="209" y="304"/>
                </a:cxn>
                <a:cxn ang="0">
                  <a:pos x="149" y="556"/>
                </a:cxn>
                <a:cxn ang="0">
                  <a:pos x="0" y="575"/>
                </a:cxn>
                <a:cxn ang="0">
                  <a:pos x="114" y="859"/>
                </a:cxn>
                <a:cxn ang="0">
                  <a:pos x="197" y="926"/>
                </a:cxn>
                <a:cxn ang="0">
                  <a:pos x="311" y="906"/>
                </a:cxn>
                <a:cxn ang="0">
                  <a:pos x="311" y="906"/>
                </a:cxn>
              </a:cxnLst>
              <a:rect l="0" t="0" r="r" b="b"/>
              <a:pathLst>
                <a:path w="791" h="926">
                  <a:moveTo>
                    <a:pt x="311" y="906"/>
                  </a:moveTo>
                  <a:lnTo>
                    <a:pt x="452" y="729"/>
                  </a:lnTo>
                  <a:lnTo>
                    <a:pt x="717" y="548"/>
                  </a:lnTo>
                  <a:lnTo>
                    <a:pt x="791" y="477"/>
                  </a:lnTo>
                  <a:lnTo>
                    <a:pt x="791" y="475"/>
                  </a:lnTo>
                  <a:lnTo>
                    <a:pt x="607" y="292"/>
                  </a:lnTo>
                  <a:lnTo>
                    <a:pt x="122" y="0"/>
                  </a:lnTo>
                  <a:lnTo>
                    <a:pt x="114" y="75"/>
                  </a:lnTo>
                  <a:lnTo>
                    <a:pt x="161" y="225"/>
                  </a:lnTo>
                  <a:lnTo>
                    <a:pt x="209" y="304"/>
                  </a:lnTo>
                  <a:lnTo>
                    <a:pt x="149" y="556"/>
                  </a:lnTo>
                  <a:lnTo>
                    <a:pt x="0" y="575"/>
                  </a:lnTo>
                  <a:lnTo>
                    <a:pt x="114" y="859"/>
                  </a:lnTo>
                  <a:lnTo>
                    <a:pt x="197" y="926"/>
                  </a:lnTo>
                  <a:lnTo>
                    <a:pt x="311" y="906"/>
                  </a:lnTo>
                  <a:lnTo>
                    <a:pt x="311" y="906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B1E496F1-8321-435B-B4A6-254430C1B9D0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1750" y="2121860"/>
              <a:ext cx="877173" cy="243230"/>
            </a:xfrm>
            <a:custGeom>
              <a:avLst/>
              <a:gdLst/>
              <a:ahLst/>
              <a:cxnLst>
                <a:cxn ang="0">
                  <a:pos x="1147" y="159"/>
                </a:cxn>
                <a:cxn ang="0">
                  <a:pos x="998" y="254"/>
                </a:cxn>
                <a:cxn ang="0">
                  <a:pos x="789" y="48"/>
                </a:cxn>
                <a:cxn ang="0">
                  <a:pos x="307" y="0"/>
                </a:cxn>
                <a:cxn ang="0">
                  <a:pos x="277" y="84"/>
                </a:cxn>
                <a:cxn ang="0">
                  <a:pos x="324" y="218"/>
                </a:cxn>
                <a:cxn ang="0">
                  <a:pos x="229" y="427"/>
                </a:cxn>
                <a:cxn ang="0">
                  <a:pos x="134" y="462"/>
                </a:cxn>
                <a:cxn ang="0">
                  <a:pos x="0" y="579"/>
                </a:cxn>
                <a:cxn ang="0">
                  <a:pos x="100" y="631"/>
                </a:cxn>
                <a:cxn ang="0">
                  <a:pos x="127" y="710"/>
                </a:cxn>
                <a:cxn ang="0">
                  <a:pos x="134" y="766"/>
                </a:cxn>
                <a:cxn ang="0">
                  <a:pos x="210" y="852"/>
                </a:cxn>
                <a:cxn ang="0">
                  <a:pos x="221" y="927"/>
                </a:cxn>
                <a:cxn ang="0">
                  <a:pos x="289" y="934"/>
                </a:cxn>
                <a:cxn ang="0">
                  <a:pos x="363" y="915"/>
                </a:cxn>
                <a:cxn ang="0">
                  <a:pos x="391" y="860"/>
                </a:cxn>
                <a:cxn ang="0">
                  <a:pos x="458" y="785"/>
                </a:cxn>
                <a:cxn ang="0">
                  <a:pos x="493" y="793"/>
                </a:cxn>
                <a:cxn ang="0">
                  <a:pos x="572" y="746"/>
                </a:cxn>
                <a:cxn ang="0">
                  <a:pos x="824" y="548"/>
                </a:cxn>
                <a:cxn ang="0">
                  <a:pos x="938" y="643"/>
                </a:cxn>
                <a:cxn ang="0">
                  <a:pos x="1101" y="691"/>
                </a:cxn>
                <a:cxn ang="0">
                  <a:pos x="1156" y="766"/>
                </a:cxn>
                <a:cxn ang="0">
                  <a:pos x="1222" y="737"/>
                </a:cxn>
                <a:cxn ang="0">
                  <a:pos x="1344" y="907"/>
                </a:cxn>
                <a:cxn ang="0">
                  <a:pos x="1534" y="766"/>
                </a:cxn>
                <a:cxn ang="0">
                  <a:pos x="1754" y="907"/>
                </a:cxn>
                <a:cxn ang="0">
                  <a:pos x="1830" y="963"/>
                </a:cxn>
                <a:cxn ang="0">
                  <a:pos x="2141" y="934"/>
                </a:cxn>
                <a:cxn ang="0">
                  <a:pos x="2283" y="820"/>
                </a:cxn>
                <a:cxn ang="0">
                  <a:pos x="2641" y="840"/>
                </a:cxn>
                <a:cxn ang="0">
                  <a:pos x="2796" y="509"/>
                </a:cxn>
                <a:cxn ang="0">
                  <a:pos x="2803" y="285"/>
                </a:cxn>
                <a:cxn ang="0">
                  <a:pos x="2842" y="76"/>
                </a:cxn>
                <a:cxn ang="0">
                  <a:pos x="2622" y="143"/>
                </a:cxn>
                <a:cxn ang="0">
                  <a:pos x="2500" y="254"/>
                </a:cxn>
                <a:cxn ang="0">
                  <a:pos x="2086" y="360"/>
                </a:cxn>
                <a:cxn ang="0">
                  <a:pos x="1971" y="482"/>
                </a:cxn>
                <a:cxn ang="0">
                  <a:pos x="1865" y="482"/>
                </a:cxn>
                <a:cxn ang="0">
                  <a:pos x="1849" y="427"/>
                </a:cxn>
                <a:cxn ang="0">
                  <a:pos x="1762" y="320"/>
                </a:cxn>
                <a:cxn ang="0">
                  <a:pos x="1924" y="96"/>
                </a:cxn>
                <a:cxn ang="0">
                  <a:pos x="1885" y="57"/>
                </a:cxn>
                <a:cxn ang="0">
                  <a:pos x="1771" y="17"/>
                </a:cxn>
                <a:cxn ang="0">
                  <a:pos x="1518" y="198"/>
                </a:cxn>
                <a:cxn ang="0">
                  <a:pos x="1356" y="266"/>
                </a:cxn>
                <a:cxn ang="0">
                  <a:pos x="1290" y="206"/>
                </a:cxn>
                <a:cxn ang="0">
                  <a:pos x="1203" y="218"/>
                </a:cxn>
                <a:cxn ang="0">
                  <a:pos x="1147" y="159"/>
                </a:cxn>
                <a:cxn ang="0">
                  <a:pos x="1147" y="159"/>
                </a:cxn>
              </a:cxnLst>
              <a:rect l="0" t="0" r="r" b="b"/>
              <a:pathLst>
                <a:path w="2842" h="963">
                  <a:moveTo>
                    <a:pt x="1147" y="159"/>
                  </a:moveTo>
                  <a:lnTo>
                    <a:pt x="998" y="254"/>
                  </a:lnTo>
                  <a:lnTo>
                    <a:pt x="789" y="48"/>
                  </a:lnTo>
                  <a:lnTo>
                    <a:pt x="307" y="0"/>
                  </a:lnTo>
                  <a:lnTo>
                    <a:pt x="277" y="84"/>
                  </a:lnTo>
                  <a:lnTo>
                    <a:pt x="324" y="218"/>
                  </a:lnTo>
                  <a:lnTo>
                    <a:pt x="229" y="427"/>
                  </a:lnTo>
                  <a:lnTo>
                    <a:pt x="134" y="462"/>
                  </a:lnTo>
                  <a:lnTo>
                    <a:pt x="0" y="579"/>
                  </a:lnTo>
                  <a:lnTo>
                    <a:pt x="100" y="631"/>
                  </a:lnTo>
                  <a:lnTo>
                    <a:pt x="127" y="710"/>
                  </a:lnTo>
                  <a:lnTo>
                    <a:pt x="134" y="766"/>
                  </a:lnTo>
                  <a:lnTo>
                    <a:pt x="210" y="852"/>
                  </a:lnTo>
                  <a:lnTo>
                    <a:pt x="221" y="927"/>
                  </a:lnTo>
                  <a:lnTo>
                    <a:pt x="289" y="934"/>
                  </a:lnTo>
                  <a:lnTo>
                    <a:pt x="363" y="915"/>
                  </a:lnTo>
                  <a:lnTo>
                    <a:pt x="391" y="860"/>
                  </a:lnTo>
                  <a:lnTo>
                    <a:pt x="458" y="785"/>
                  </a:lnTo>
                  <a:lnTo>
                    <a:pt x="493" y="793"/>
                  </a:lnTo>
                  <a:lnTo>
                    <a:pt x="572" y="746"/>
                  </a:lnTo>
                  <a:lnTo>
                    <a:pt x="824" y="548"/>
                  </a:lnTo>
                  <a:lnTo>
                    <a:pt x="938" y="643"/>
                  </a:lnTo>
                  <a:lnTo>
                    <a:pt x="1101" y="691"/>
                  </a:lnTo>
                  <a:lnTo>
                    <a:pt x="1156" y="766"/>
                  </a:lnTo>
                  <a:lnTo>
                    <a:pt x="1222" y="737"/>
                  </a:lnTo>
                  <a:lnTo>
                    <a:pt x="1344" y="907"/>
                  </a:lnTo>
                  <a:lnTo>
                    <a:pt x="1534" y="766"/>
                  </a:lnTo>
                  <a:lnTo>
                    <a:pt x="1754" y="907"/>
                  </a:lnTo>
                  <a:lnTo>
                    <a:pt x="1830" y="963"/>
                  </a:lnTo>
                  <a:lnTo>
                    <a:pt x="2141" y="934"/>
                  </a:lnTo>
                  <a:lnTo>
                    <a:pt x="2283" y="820"/>
                  </a:lnTo>
                  <a:lnTo>
                    <a:pt x="2641" y="840"/>
                  </a:lnTo>
                  <a:lnTo>
                    <a:pt x="2796" y="509"/>
                  </a:lnTo>
                  <a:lnTo>
                    <a:pt x="2803" y="285"/>
                  </a:lnTo>
                  <a:lnTo>
                    <a:pt x="2842" y="76"/>
                  </a:lnTo>
                  <a:lnTo>
                    <a:pt x="2622" y="143"/>
                  </a:lnTo>
                  <a:lnTo>
                    <a:pt x="2500" y="254"/>
                  </a:lnTo>
                  <a:lnTo>
                    <a:pt x="2086" y="360"/>
                  </a:lnTo>
                  <a:lnTo>
                    <a:pt x="1971" y="482"/>
                  </a:lnTo>
                  <a:lnTo>
                    <a:pt x="1865" y="482"/>
                  </a:lnTo>
                  <a:lnTo>
                    <a:pt x="1849" y="427"/>
                  </a:lnTo>
                  <a:lnTo>
                    <a:pt x="1762" y="320"/>
                  </a:lnTo>
                  <a:lnTo>
                    <a:pt x="1924" y="96"/>
                  </a:lnTo>
                  <a:lnTo>
                    <a:pt x="1885" y="57"/>
                  </a:lnTo>
                  <a:lnTo>
                    <a:pt x="1771" y="17"/>
                  </a:lnTo>
                  <a:lnTo>
                    <a:pt x="1518" y="198"/>
                  </a:lnTo>
                  <a:lnTo>
                    <a:pt x="1356" y="266"/>
                  </a:lnTo>
                  <a:lnTo>
                    <a:pt x="1290" y="206"/>
                  </a:lnTo>
                  <a:lnTo>
                    <a:pt x="1203" y="218"/>
                  </a:lnTo>
                  <a:lnTo>
                    <a:pt x="1147" y="159"/>
                  </a:lnTo>
                  <a:lnTo>
                    <a:pt x="1147" y="159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25" name="Freeform 17">
              <a:extLst>
                <a:ext uri="{FF2B5EF4-FFF2-40B4-BE49-F238E27FC236}">
                  <a16:creationId xmlns:a16="http://schemas.microsoft.com/office/drawing/2014/main" id="{F369A5FD-C34F-42E5-8DAF-0F6E72A6FD30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4979" y="1850832"/>
              <a:ext cx="468392" cy="247865"/>
            </a:xfrm>
            <a:custGeom>
              <a:avLst/>
              <a:gdLst/>
              <a:ahLst/>
              <a:cxnLst>
                <a:cxn ang="0">
                  <a:pos x="0" y="701"/>
                </a:cxn>
                <a:cxn ang="0">
                  <a:pos x="49" y="557"/>
                </a:cxn>
                <a:cxn ang="0">
                  <a:pos x="123" y="557"/>
                </a:cxn>
                <a:cxn ang="0">
                  <a:pos x="332" y="217"/>
                </a:cxn>
                <a:cxn ang="0">
                  <a:pos x="538" y="1"/>
                </a:cxn>
                <a:cxn ang="0">
                  <a:pos x="537" y="0"/>
                </a:cxn>
                <a:cxn ang="0">
                  <a:pos x="738" y="123"/>
                </a:cxn>
                <a:cxn ang="0">
                  <a:pos x="975" y="205"/>
                </a:cxn>
                <a:cxn ang="0">
                  <a:pos x="1306" y="217"/>
                </a:cxn>
                <a:cxn ang="0">
                  <a:pos x="1428" y="340"/>
                </a:cxn>
                <a:cxn ang="0">
                  <a:pos x="1534" y="826"/>
                </a:cxn>
                <a:cxn ang="0">
                  <a:pos x="1325" y="812"/>
                </a:cxn>
                <a:cxn ang="0">
                  <a:pos x="1117" y="812"/>
                </a:cxn>
                <a:cxn ang="0">
                  <a:pos x="963" y="718"/>
                </a:cxn>
                <a:cxn ang="0">
                  <a:pos x="900" y="765"/>
                </a:cxn>
                <a:cxn ang="0">
                  <a:pos x="853" y="962"/>
                </a:cxn>
                <a:cxn ang="0">
                  <a:pos x="793" y="982"/>
                </a:cxn>
                <a:cxn ang="0">
                  <a:pos x="738" y="907"/>
                </a:cxn>
                <a:cxn ang="0">
                  <a:pos x="585" y="899"/>
                </a:cxn>
                <a:cxn ang="0">
                  <a:pos x="490" y="851"/>
                </a:cxn>
                <a:cxn ang="0">
                  <a:pos x="490" y="785"/>
                </a:cxn>
                <a:cxn ang="0">
                  <a:pos x="585" y="623"/>
                </a:cxn>
                <a:cxn ang="0">
                  <a:pos x="585" y="569"/>
                </a:cxn>
                <a:cxn ang="0">
                  <a:pos x="557" y="557"/>
                </a:cxn>
                <a:cxn ang="0">
                  <a:pos x="332" y="632"/>
                </a:cxn>
                <a:cxn ang="0">
                  <a:pos x="206" y="746"/>
                </a:cxn>
                <a:cxn ang="0">
                  <a:pos x="0" y="701"/>
                </a:cxn>
                <a:cxn ang="0">
                  <a:pos x="0" y="701"/>
                </a:cxn>
              </a:cxnLst>
              <a:rect l="0" t="0" r="r" b="b"/>
              <a:pathLst>
                <a:path w="1534" h="982">
                  <a:moveTo>
                    <a:pt x="0" y="701"/>
                  </a:moveTo>
                  <a:lnTo>
                    <a:pt x="49" y="557"/>
                  </a:lnTo>
                  <a:lnTo>
                    <a:pt x="123" y="557"/>
                  </a:lnTo>
                  <a:lnTo>
                    <a:pt x="332" y="217"/>
                  </a:lnTo>
                  <a:lnTo>
                    <a:pt x="538" y="1"/>
                  </a:lnTo>
                  <a:lnTo>
                    <a:pt x="537" y="0"/>
                  </a:lnTo>
                  <a:lnTo>
                    <a:pt x="738" y="123"/>
                  </a:lnTo>
                  <a:lnTo>
                    <a:pt x="975" y="205"/>
                  </a:lnTo>
                  <a:lnTo>
                    <a:pt x="1306" y="217"/>
                  </a:lnTo>
                  <a:lnTo>
                    <a:pt x="1428" y="340"/>
                  </a:lnTo>
                  <a:lnTo>
                    <a:pt x="1534" y="826"/>
                  </a:lnTo>
                  <a:lnTo>
                    <a:pt x="1325" y="812"/>
                  </a:lnTo>
                  <a:lnTo>
                    <a:pt x="1117" y="812"/>
                  </a:lnTo>
                  <a:lnTo>
                    <a:pt x="963" y="718"/>
                  </a:lnTo>
                  <a:lnTo>
                    <a:pt x="900" y="765"/>
                  </a:lnTo>
                  <a:lnTo>
                    <a:pt x="853" y="962"/>
                  </a:lnTo>
                  <a:lnTo>
                    <a:pt x="793" y="982"/>
                  </a:lnTo>
                  <a:lnTo>
                    <a:pt x="738" y="907"/>
                  </a:lnTo>
                  <a:lnTo>
                    <a:pt x="585" y="899"/>
                  </a:lnTo>
                  <a:lnTo>
                    <a:pt x="490" y="851"/>
                  </a:lnTo>
                  <a:lnTo>
                    <a:pt x="490" y="785"/>
                  </a:lnTo>
                  <a:lnTo>
                    <a:pt x="585" y="623"/>
                  </a:lnTo>
                  <a:lnTo>
                    <a:pt x="585" y="569"/>
                  </a:lnTo>
                  <a:lnTo>
                    <a:pt x="557" y="557"/>
                  </a:lnTo>
                  <a:lnTo>
                    <a:pt x="332" y="632"/>
                  </a:lnTo>
                  <a:lnTo>
                    <a:pt x="206" y="746"/>
                  </a:lnTo>
                  <a:lnTo>
                    <a:pt x="0" y="701"/>
                  </a:lnTo>
                  <a:lnTo>
                    <a:pt x="0" y="701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7EA943E6-0322-4D9A-9CDE-82737720B9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0195" y="1614551"/>
              <a:ext cx="760784" cy="882579"/>
            </a:xfrm>
            <a:custGeom>
              <a:avLst/>
              <a:gdLst/>
              <a:ahLst/>
              <a:cxnLst>
                <a:cxn ang="0">
                  <a:pos x="90" y="3257"/>
                </a:cxn>
                <a:cxn ang="0">
                  <a:pos x="153" y="3277"/>
                </a:cxn>
                <a:cxn ang="0">
                  <a:pos x="371" y="3525"/>
                </a:cxn>
                <a:cxn ang="0">
                  <a:pos x="500" y="3513"/>
                </a:cxn>
                <a:cxn ang="0">
                  <a:pos x="626" y="3431"/>
                </a:cxn>
                <a:cxn ang="0">
                  <a:pos x="804" y="3402"/>
                </a:cxn>
                <a:cxn ang="0">
                  <a:pos x="973" y="3174"/>
                </a:cxn>
                <a:cxn ang="0">
                  <a:pos x="973" y="2911"/>
                </a:cxn>
                <a:cxn ang="0">
                  <a:pos x="1068" y="2863"/>
                </a:cxn>
                <a:cxn ang="0">
                  <a:pos x="1194" y="2899"/>
                </a:cxn>
                <a:cxn ang="0">
                  <a:pos x="1289" y="2899"/>
                </a:cxn>
                <a:cxn ang="0">
                  <a:pos x="1399" y="2977"/>
                </a:cxn>
                <a:cxn ang="0">
                  <a:pos x="1513" y="2958"/>
                </a:cxn>
                <a:cxn ang="0">
                  <a:pos x="1627" y="2871"/>
                </a:cxn>
                <a:cxn ang="0">
                  <a:pos x="1809" y="2851"/>
                </a:cxn>
                <a:cxn ang="0">
                  <a:pos x="1911" y="2710"/>
                </a:cxn>
                <a:cxn ang="0">
                  <a:pos x="2014" y="2674"/>
                </a:cxn>
                <a:cxn ang="0">
                  <a:pos x="2088" y="2610"/>
                </a:cxn>
                <a:cxn ang="0">
                  <a:pos x="2222" y="2493"/>
                </a:cxn>
                <a:cxn ang="0">
                  <a:pos x="2317" y="2458"/>
                </a:cxn>
                <a:cxn ang="0">
                  <a:pos x="2412" y="2249"/>
                </a:cxn>
                <a:cxn ang="0">
                  <a:pos x="2365" y="2115"/>
                </a:cxn>
                <a:cxn ang="0">
                  <a:pos x="2395" y="2031"/>
                </a:cxn>
                <a:cxn ang="0">
                  <a:pos x="2479" y="1804"/>
                </a:cxn>
                <a:cxn ang="0">
                  <a:pos x="2329" y="1595"/>
                </a:cxn>
                <a:cxn ang="0">
                  <a:pos x="2222" y="1115"/>
                </a:cxn>
                <a:cxn ang="0">
                  <a:pos x="2188" y="850"/>
                </a:cxn>
                <a:cxn ang="0">
                  <a:pos x="2168" y="756"/>
                </a:cxn>
                <a:cxn ang="0">
                  <a:pos x="2222" y="603"/>
                </a:cxn>
                <a:cxn ang="0">
                  <a:pos x="2108" y="283"/>
                </a:cxn>
                <a:cxn ang="0">
                  <a:pos x="2140" y="236"/>
                </a:cxn>
                <a:cxn ang="0">
                  <a:pos x="2101" y="177"/>
                </a:cxn>
                <a:cxn ang="0">
                  <a:pos x="2140" y="55"/>
                </a:cxn>
                <a:cxn ang="0">
                  <a:pos x="2033" y="27"/>
                </a:cxn>
                <a:cxn ang="0">
                  <a:pos x="1892" y="0"/>
                </a:cxn>
                <a:cxn ang="0">
                  <a:pos x="1824" y="130"/>
                </a:cxn>
                <a:cxn ang="0">
                  <a:pos x="1656" y="244"/>
                </a:cxn>
                <a:cxn ang="0">
                  <a:pos x="1573" y="251"/>
                </a:cxn>
                <a:cxn ang="0">
                  <a:pos x="1430" y="488"/>
                </a:cxn>
                <a:cxn ang="0">
                  <a:pos x="1372" y="622"/>
                </a:cxn>
                <a:cxn ang="0">
                  <a:pos x="1447" y="697"/>
                </a:cxn>
                <a:cxn ang="0">
                  <a:pos x="1411" y="819"/>
                </a:cxn>
                <a:cxn ang="0">
                  <a:pos x="1478" y="981"/>
                </a:cxn>
                <a:cxn ang="0">
                  <a:pos x="1459" y="1067"/>
                </a:cxn>
                <a:cxn ang="0">
                  <a:pos x="1324" y="1217"/>
                </a:cxn>
                <a:cxn ang="0">
                  <a:pos x="1336" y="1379"/>
                </a:cxn>
                <a:cxn ang="0">
                  <a:pos x="1418" y="1481"/>
                </a:cxn>
                <a:cxn ang="0">
                  <a:pos x="1384" y="1681"/>
                </a:cxn>
                <a:cxn ang="0">
                  <a:pos x="1175" y="1749"/>
                </a:cxn>
                <a:cxn ang="0">
                  <a:pos x="1032" y="1662"/>
                </a:cxn>
                <a:cxn ang="0">
                  <a:pos x="864" y="1717"/>
                </a:cxn>
                <a:cxn ang="0">
                  <a:pos x="626" y="1918"/>
                </a:cxn>
                <a:cxn ang="0">
                  <a:pos x="276" y="2048"/>
                </a:cxn>
                <a:cxn ang="0">
                  <a:pos x="162" y="2324"/>
                </a:cxn>
                <a:cxn ang="0">
                  <a:pos x="12" y="2683"/>
                </a:cxn>
                <a:cxn ang="0">
                  <a:pos x="67" y="2911"/>
                </a:cxn>
                <a:cxn ang="0">
                  <a:pos x="0" y="3230"/>
                </a:cxn>
                <a:cxn ang="0">
                  <a:pos x="90" y="3257"/>
                </a:cxn>
                <a:cxn ang="0">
                  <a:pos x="90" y="3257"/>
                </a:cxn>
              </a:cxnLst>
              <a:rect l="0" t="0" r="r" b="b"/>
              <a:pathLst>
                <a:path w="2479" h="3525">
                  <a:moveTo>
                    <a:pt x="90" y="3257"/>
                  </a:moveTo>
                  <a:lnTo>
                    <a:pt x="153" y="3277"/>
                  </a:lnTo>
                  <a:lnTo>
                    <a:pt x="371" y="3525"/>
                  </a:lnTo>
                  <a:lnTo>
                    <a:pt x="500" y="3513"/>
                  </a:lnTo>
                  <a:lnTo>
                    <a:pt x="626" y="3431"/>
                  </a:lnTo>
                  <a:lnTo>
                    <a:pt x="804" y="3402"/>
                  </a:lnTo>
                  <a:lnTo>
                    <a:pt x="973" y="3174"/>
                  </a:lnTo>
                  <a:lnTo>
                    <a:pt x="973" y="2911"/>
                  </a:lnTo>
                  <a:lnTo>
                    <a:pt x="1068" y="2863"/>
                  </a:lnTo>
                  <a:lnTo>
                    <a:pt x="1194" y="2899"/>
                  </a:lnTo>
                  <a:lnTo>
                    <a:pt x="1289" y="2899"/>
                  </a:lnTo>
                  <a:lnTo>
                    <a:pt x="1399" y="2977"/>
                  </a:lnTo>
                  <a:lnTo>
                    <a:pt x="1513" y="2958"/>
                  </a:lnTo>
                  <a:lnTo>
                    <a:pt x="1627" y="2871"/>
                  </a:lnTo>
                  <a:lnTo>
                    <a:pt x="1809" y="2851"/>
                  </a:lnTo>
                  <a:lnTo>
                    <a:pt x="1911" y="2710"/>
                  </a:lnTo>
                  <a:lnTo>
                    <a:pt x="2014" y="2674"/>
                  </a:lnTo>
                  <a:lnTo>
                    <a:pt x="2088" y="2610"/>
                  </a:lnTo>
                  <a:lnTo>
                    <a:pt x="2222" y="2493"/>
                  </a:lnTo>
                  <a:lnTo>
                    <a:pt x="2317" y="2458"/>
                  </a:lnTo>
                  <a:lnTo>
                    <a:pt x="2412" y="2249"/>
                  </a:lnTo>
                  <a:lnTo>
                    <a:pt x="2365" y="2115"/>
                  </a:lnTo>
                  <a:lnTo>
                    <a:pt x="2395" y="2031"/>
                  </a:lnTo>
                  <a:lnTo>
                    <a:pt x="2479" y="1804"/>
                  </a:lnTo>
                  <a:lnTo>
                    <a:pt x="2329" y="1595"/>
                  </a:lnTo>
                  <a:lnTo>
                    <a:pt x="2222" y="1115"/>
                  </a:lnTo>
                  <a:lnTo>
                    <a:pt x="2188" y="850"/>
                  </a:lnTo>
                  <a:lnTo>
                    <a:pt x="2168" y="756"/>
                  </a:lnTo>
                  <a:lnTo>
                    <a:pt x="2222" y="603"/>
                  </a:lnTo>
                  <a:lnTo>
                    <a:pt x="2108" y="283"/>
                  </a:lnTo>
                  <a:lnTo>
                    <a:pt x="2140" y="236"/>
                  </a:lnTo>
                  <a:lnTo>
                    <a:pt x="2101" y="177"/>
                  </a:lnTo>
                  <a:lnTo>
                    <a:pt x="2140" y="55"/>
                  </a:lnTo>
                  <a:lnTo>
                    <a:pt x="2033" y="27"/>
                  </a:lnTo>
                  <a:lnTo>
                    <a:pt x="1892" y="0"/>
                  </a:lnTo>
                  <a:lnTo>
                    <a:pt x="1824" y="130"/>
                  </a:lnTo>
                  <a:lnTo>
                    <a:pt x="1656" y="244"/>
                  </a:lnTo>
                  <a:lnTo>
                    <a:pt x="1573" y="251"/>
                  </a:lnTo>
                  <a:lnTo>
                    <a:pt x="1430" y="488"/>
                  </a:lnTo>
                  <a:lnTo>
                    <a:pt x="1372" y="622"/>
                  </a:lnTo>
                  <a:lnTo>
                    <a:pt x="1447" y="697"/>
                  </a:lnTo>
                  <a:lnTo>
                    <a:pt x="1411" y="819"/>
                  </a:lnTo>
                  <a:lnTo>
                    <a:pt x="1478" y="981"/>
                  </a:lnTo>
                  <a:lnTo>
                    <a:pt x="1459" y="1067"/>
                  </a:lnTo>
                  <a:lnTo>
                    <a:pt x="1324" y="1217"/>
                  </a:lnTo>
                  <a:lnTo>
                    <a:pt x="1336" y="1379"/>
                  </a:lnTo>
                  <a:lnTo>
                    <a:pt x="1418" y="1481"/>
                  </a:lnTo>
                  <a:lnTo>
                    <a:pt x="1384" y="1681"/>
                  </a:lnTo>
                  <a:lnTo>
                    <a:pt x="1175" y="1749"/>
                  </a:lnTo>
                  <a:lnTo>
                    <a:pt x="1032" y="1662"/>
                  </a:lnTo>
                  <a:lnTo>
                    <a:pt x="864" y="1717"/>
                  </a:lnTo>
                  <a:lnTo>
                    <a:pt x="626" y="1918"/>
                  </a:lnTo>
                  <a:lnTo>
                    <a:pt x="276" y="2048"/>
                  </a:lnTo>
                  <a:lnTo>
                    <a:pt x="162" y="2324"/>
                  </a:lnTo>
                  <a:lnTo>
                    <a:pt x="12" y="2683"/>
                  </a:lnTo>
                  <a:lnTo>
                    <a:pt x="67" y="2911"/>
                  </a:lnTo>
                  <a:lnTo>
                    <a:pt x="0" y="3230"/>
                  </a:lnTo>
                  <a:lnTo>
                    <a:pt x="90" y="3257"/>
                  </a:lnTo>
                  <a:lnTo>
                    <a:pt x="90" y="3257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27" name="Freeform 19">
              <a:extLst>
                <a:ext uri="{FF2B5EF4-FFF2-40B4-BE49-F238E27FC236}">
                  <a16:creationId xmlns:a16="http://schemas.microsoft.com/office/drawing/2014/main" id="{3992C653-533D-4C53-A5E2-E86C57F4AB0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73739" y="1408385"/>
              <a:ext cx="908398" cy="1016935"/>
            </a:xfrm>
            <a:custGeom>
              <a:avLst/>
              <a:gdLst/>
              <a:ahLst/>
              <a:cxnLst>
                <a:cxn ang="0">
                  <a:pos x="416" y="1945"/>
                </a:cxn>
                <a:cxn ang="0">
                  <a:pos x="368" y="2559"/>
                </a:cxn>
                <a:cxn ang="0">
                  <a:pos x="396" y="2682"/>
                </a:cxn>
                <a:cxn ang="0">
                  <a:pos x="605" y="3013"/>
                </a:cxn>
                <a:cxn ang="0">
                  <a:pos x="834" y="3025"/>
                </a:cxn>
                <a:cxn ang="0">
                  <a:pos x="691" y="3221"/>
                </a:cxn>
                <a:cxn ang="0">
                  <a:pos x="691" y="3619"/>
                </a:cxn>
                <a:cxn ang="0">
                  <a:pos x="766" y="3768"/>
                </a:cxn>
                <a:cxn ang="0">
                  <a:pos x="1058" y="4033"/>
                </a:cxn>
                <a:cxn ang="0">
                  <a:pos x="1070" y="3486"/>
                </a:cxn>
                <a:cxn ang="0">
                  <a:pos x="1334" y="2851"/>
                </a:cxn>
                <a:cxn ang="0">
                  <a:pos x="1922" y="2520"/>
                </a:cxn>
                <a:cxn ang="0">
                  <a:pos x="2233" y="2552"/>
                </a:cxn>
                <a:cxn ang="0">
                  <a:pos x="2476" y="2284"/>
                </a:cxn>
                <a:cxn ang="0">
                  <a:pos x="2382" y="2020"/>
                </a:cxn>
                <a:cxn ang="0">
                  <a:pos x="2536" y="1784"/>
                </a:cxn>
                <a:cxn ang="0">
                  <a:pos x="2505" y="1500"/>
                </a:cxn>
                <a:cxn ang="0">
                  <a:pos x="2488" y="1291"/>
                </a:cxn>
                <a:cxn ang="0">
                  <a:pos x="2714" y="1047"/>
                </a:cxn>
                <a:cxn ang="0">
                  <a:pos x="2950" y="803"/>
                </a:cxn>
                <a:cxn ang="0">
                  <a:pos x="2828" y="791"/>
                </a:cxn>
                <a:cxn ang="0">
                  <a:pos x="2260" y="554"/>
                </a:cxn>
                <a:cxn ang="0">
                  <a:pos x="2043" y="649"/>
                </a:cxn>
                <a:cxn ang="0">
                  <a:pos x="1862" y="755"/>
                </a:cxn>
                <a:cxn ang="0">
                  <a:pos x="1692" y="886"/>
                </a:cxn>
                <a:cxn ang="0">
                  <a:pos x="1720" y="772"/>
                </a:cxn>
                <a:cxn ang="0">
                  <a:pos x="1713" y="614"/>
                </a:cxn>
                <a:cxn ang="0">
                  <a:pos x="1759" y="472"/>
                </a:cxn>
                <a:cxn ang="0">
                  <a:pos x="1732" y="405"/>
                </a:cxn>
                <a:cxn ang="0">
                  <a:pos x="1626" y="204"/>
                </a:cxn>
                <a:cxn ang="0">
                  <a:pos x="1429" y="216"/>
                </a:cxn>
                <a:cxn ang="0">
                  <a:pos x="1369" y="121"/>
                </a:cxn>
                <a:cxn ang="0">
                  <a:pos x="1314" y="94"/>
                </a:cxn>
                <a:cxn ang="0">
                  <a:pos x="1133" y="27"/>
                </a:cxn>
                <a:cxn ang="0">
                  <a:pos x="1002" y="141"/>
                </a:cxn>
                <a:cxn ang="0">
                  <a:pos x="916" y="440"/>
                </a:cxn>
                <a:cxn ang="0">
                  <a:pos x="822" y="649"/>
                </a:cxn>
                <a:cxn ang="0">
                  <a:pos x="707" y="913"/>
                </a:cxn>
                <a:cxn ang="0">
                  <a:pos x="368" y="1464"/>
                </a:cxn>
                <a:cxn ang="0">
                  <a:pos x="0" y="1712"/>
                </a:cxn>
                <a:cxn ang="0">
                  <a:pos x="254" y="1784"/>
                </a:cxn>
              </a:cxnLst>
              <a:rect l="0" t="0" r="r" b="b"/>
              <a:pathLst>
                <a:path w="2950" h="4033">
                  <a:moveTo>
                    <a:pt x="254" y="1784"/>
                  </a:moveTo>
                  <a:lnTo>
                    <a:pt x="416" y="1945"/>
                  </a:lnTo>
                  <a:lnTo>
                    <a:pt x="435" y="2379"/>
                  </a:lnTo>
                  <a:lnTo>
                    <a:pt x="368" y="2559"/>
                  </a:lnTo>
                  <a:lnTo>
                    <a:pt x="302" y="2627"/>
                  </a:lnTo>
                  <a:lnTo>
                    <a:pt x="396" y="2682"/>
                  </a:lnTo>
                  <a:lnTo>
                    <a:pt x="416" y="2777"/>
                  </a:lnTo>
                  <a:lnTo>
                    <a:pt x="605" y="3013"/>
                  </a:lnTo>
                  <a:lnTo>
                    <a:pt x="754" y="2977"/>
                  </a:lnTo>
                  <a:lnTo>
                    <a:pt x="834" y="3025"/>
                  </a:lnTo>
                  <a:lnTo>
                    <a:pt x="834" y="3154"/>
                  </a:lnTo>
                  <a:lnTo>
                    <a:pt x="691" y="3221"/>
                  </a:lnTo>
                  <a:lnTo>
                    <a:pt x="584" y="3457"/>
                  </a:lnTo>
                  <a:lnTo>
                    <a:pt x="691" y="3619"/>
                  </a:lnTo>
                  <a:lnTo>
                    <a:pt x="793" y="3722"/>
                  </a:lnTo>
                  <a:lnTo>
                    <a:pt x="766" y="3768"/>
                  </a:lnTo>
                  <a:lnTo>
                    <a:pt x="861" y="3977"/>
                  </a:lnTo>
                  <a:lnTo>
                    <a:pt x="1058" y="4033"/>
                  </a:lnTo>
                  <a:lnTo>
                    <a:pt x="1125" y="3714"/>
                  </a:lnTo>
                  <a:lnTo>
                    <a:pt x="1070" y="3486"/>
                  </a:lnTo>
                  <a:lnTo>
                    <a:pt x="1220" y="3127"/>
                  </a:lnTo>
                  <a:lnTo>
                    <a:pt x="1334" y="2851"/>
                  </a:lnTo>
                  <a:lnTo>
                    <a:pt x="1684" y="2721"/>
                  </a:lnTo>
                  <a:lnTo>
                    <a:pt x="1922" y="2520"/>
                  </a:lnTo>
                  <a:lnTo>
                    <a:pt x="2090" y="2465"/>
                  </a:lnTo>
                  <a:lnTo>
                    <a:pt x="2233" y="2552"/>
                  </a:lnTo>
                  <a:lnTo>
                    <a:pt x="2442" y="2484"/>
                  </a:lnTo>
                  <a:lnTo>
                    <a:pt x="2476" y="2284"/>
                  </a:lnTo>
                  <a:lnTo>
                    <a:pt x="2394" y="2182"/>
                  </a:lnTo>
                  <a:lnTo>
                    <a:pt x="2382" y="2020"/>
                  </a:lnTo>
                  <a:lnTo>
                    <a:pt x="2517" y="1870"/>
                  </a:lnTo>
                  <a:lnTo>
                    <a:pt x="2536" y="1784"/>
                  </a:lnTo>
                  <a:lnTo>
                    <a:pt x="2469" y="1622"/>
                  </a:lnTo>
                  <a:lnTo>
                    <a:pt x="2505" y="1500"/>
                  </a:lnTo>
                  <a:lnTo>
                    <a:pt x="2430" y="1425"/>
                  </a:lnTo>
                  <a:lnTo>
                    <a:pt x="2488" y="1291"/>
                  </a:lnTo>
                  <a:lnTo>
                    <a:pt x="2631" y="1054"/>
                  </a:lnTo>
                  <a:lnTo>
                    <a:pt x="2714" y="1047"/>
                  </a:lnTo>
                  <a:lnTo>
                    <a:pt x="2882" y="933"/>
                  </a:lnTo>
                  <a:lnTo>
                    <a:pt x="2950" y="803"/>
                  </a:lnTo>
                  <a:lnTo>
                    <a:pt x="2930" y="763"/>
                  </a:lnTo>
                  <a:lnTo>
                    <a:pt x="2828" y="791"/>
                  </a:lnTo>
                  <a:lnTo>
                    <a:pt x="2678" y="716"/>
                  </a:lnTo>
                  <a:lnTo>
                    <a:pt x="2260" y="554"/>
                  </a:lnTo>
                  <a:lnTo>
                    <a:pt x="2213" y="622"/>
                  </a:lnTo>
                  <a:lnTo>
                    <a:pt x="2043" y="649"/>
                  </a:lnTo>
                  <a:lnTo>
                    <a:pt x="1949" y="736"/>
                  </a:lnTo>
                  <a:lnTo>
                    <a:pt x="1862" y="755"/>
                  </a:lnTo>
                  <a:lnTo>
                    <a:pt x="1720" y="905"/>
                  </a:lnTo>
                  <a:lnTo>
                    <a:pt x="1692" y="886"/>
                  </a:lnTo>
                  <a:lnTo>
                    <a:pt x="1732" y="803"/>
                  </a:lnTo>
                  <a:lnTo>
                    <a:pt x="1720" y="772"/>
                  </a:lnTo>
                  <a:lnTo>
                    <a:pt x="1672" y="743"/>
                  </a:lnTo>
                  <a:lnTo>
                    <a:pt x="1713" y="614"/>
                  </a:lnTo>
                  <a:lnTo>
                    <a:pt x="1787" y="507"/>
                  </a:lnTo>
                  <a:lnTo>
                    <a:pt x="1759" y="472"/>
                  </a:lnTo>
                  <a:lnTo>
                    <a:pt x="1672" y="480"/>
                  </a:lnTo>
                  <a:lnTo>
                    <a:pt x="1732" y="405"/>
                  </a:lnTo>
                  <a:lnTo>
                    <a:pt x="1740" y="330"/>
                  </a:lnTo>
                  <a:lnTo>
                    <a:pt x="1626" y="204"/>
                  </a:lnTo>
                  <a:lnTo>
                    <a:pt x="1476" y="157"/>
                  </a:lnTo>
                  <a:lnTo>
                    <a:pt x="1429" y="216"/>
                  </a:lnTo>
                  <a:lnTo>
                    <a:pt x="1390" y="216"/>
                  </a:lnTo>
                  <a:lnTo>
                    <a:pt x="1369" y="121"/>
                  </a:lnTo>
                  <a:lnTo>
                    <a:pt x="1354" y="82"/>
                  </a:lnTo>
                  <a:lnTo>
                    <a:pt x="1314" y="94"/>
                  </a:lnTo>
                  <a:lnTo>
                    <a:pt x="1247" y="63"/>
                  </a:lnTo>
                  <a:lnTo>
                    <a:pt x="1133" y="27"/>
                  </a:lnTo>
                  <a:lnTo>
                    <a:pt x="1038" y="0"/>
                  </a:lnTo>
                  <a:lnTo>
                    <a:pt x="1002" y="141"/>
                  </a:lnTo>
                  <a:lnTo>
                    <a:pt x="1002" y="311"/>
                  </a:lnTo>
                  <a:lnTo>
                    <a:pt x="916" y="440"/>
                  </a:lnTo>
                  <a:lnTo>
                    <a:pt x="909" y="535"/>
                  </a:lnTo>
                  <a:lnTo>
                    <a:pt x="822" y="649"/>
                  </a:lnTo>
                  <a:lnTo>
                    <a:pt x="822" y="791"/>
                  </a:lnTo>
                  <a:lnTo>
                    <a:pt x="707" y="913"/>
                  </a:lnTo>
                  <a:lnTo>
                    <a:pt x="625" y="1086"/>
                  </a:lnTo>
                  <a:lnTo>
                    <a:pt x="368" y="1464"/>
                  </a:lnTo>
                  <a:lnTo>
                    <a:pt x="219" y="1500"/>
                  </a:lnTo>
                  <a:lnTo>
                    <a:pt x="0" y="1712"/>
                  </a:lnTo>
                  <a:lnTo>
                    <a:pt x="139" y="1784"/>
                  </a:lnTo>
                  <a:lnTo>
                    <a:pt x="254" y="1784"/>
                  </a:lnTo>
                  <a:lnTo>
                    <a:pt x="254" y="1784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28" name="Freeform 20">
              <a:extLst>
                <a:ext uri="{FF2B5EF4-FFF2-40B4-BE49-F238E27FC236}">
                  <a16:creationId xmlns:a16="http://schemas.microsoft.com/office/drawing/2014/main" id="{2E489A87-1CCD-438A-9297-BCC93CCF42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7463" y="982153"/>
              <a:ext cx="1777055" cy="1392205"/>
            </a:xfrm>
            <a:custGeom>
              <a:avLst/>
              <a:gdLst/>
              <a:ahLst/>
              <a:cxnLst>
                <a:cxn ang="0">
                  <a:pos x="0" y="630"/>
                </a:cxn>
                <a:cxn ang="0">
                  <a:pos x="255" y="481"/>
                </a:cxn>
                <a:cxn ang="0">
                  <a:pos x="457" y="413"/>
                </a:cxn>
                <a:cxn ang="0">
                  <a:pos x="729" y="291"/>
                </a:cxn>
                <a:cxn ang="0">
                  <a:pos x="984" y="284"/>
                </a:cxn>
                <a:cxn ang="0">
                  <a:pos x="1355" y="311"/>
                </a:cxn>
                <a:cxn ang="0">
                  <a:pos x="1249" y="169"/>
                </a:cxn>
                <a:cxn ang="0">
                  <a:pos x="1457" y="63"/>
                </a:cxn>
                <a:cxn ang="0">
                  <a:pos x="1883" y="102"/>
                </a:cxn>
                <a:cxn ang="0">
                  <a:pos x="1911" y="299"/>
                </a:cxn>
                <a:cxn ang="0">
                  <a:pos x="2194" y="433"/>
                </a:cxn>
                <a:cxn ang="0">
                  <a:pos x="2470" y="614"/>
                </a:cxn>
                <a:cxn ang="0">
                  <a:pos x="2601" y="879"/>
                </a:cxn>
                <a:cxn ang="0">
                  <a:pos x="2789" y="1217"/>
                </a:cxn>
                <a:cxn ang="0">
                  <a:pos x="2944" y="1559"/>
                </a:cxn>
                <a:cxn ang="0">
                  <a:pos x="3085" y="1736"/>
                </a:cxn>
                <a:cxn ang="0">
                  <a:pos x="2971" y="1870"/>
                </a:cxn>
                <a:cxn ang="0">
                  <a:pos x="3046" y="2154"/>
                </a:cxn>
                <a:cxn ang="0">
                  <a:pos x="3389" y="1717"/>
                </a:cxn>
                <a:cxn ang="0">
                  <a:pos x="3625" y="1595"/>
                </a:cxn>
                <a:cxn ang="0">
                  <a:pos x="3688" y="1831"/>
                </a:cxn>
                <a:cxn ang="0">
                  <a:pos x="3546" y="1965"/>
                </a:cxn>
                <a:cxn ang="0">
                  <a:pos x="3641" y="2068"/>
                </a:cxn>
                <a:cxn ang="0">
                  <a:pos x="3775" y="2013"/>
                </a:cxn>
                <a:cxn ang="0">
                  <a:pos x="3991" y="1965"/>
                </a:cxn>
                <a:cxn ang="0">
                  <a:pos x="4098" y="2047"/>
                </a:cxn>
                <a:cxn ang="0">
                  <a:pos x="4275" y="2020"/>
                </a:cxn>
                <a:cxn ang="0">
                  <a:pos x="4153" y="2316"/>
                </a:cxn>
                <a:cxn ang="0">
                  <a:pos x="4209" y="2343"/>
                </a:cxn>
                <a:cxn ang="0">
                  <a:pos x="4618" y="1823"/>
                </a:cxn>
                <a:cxn ang="0">
                  <a:pos x="4720" y="1811"/>
                </a:cxn>
                <a:cxn ang="0">
                  <a:pos x="4870" y="1540"/>
                </a:cxn>
                <a:cxn ang="0">
                  <a:pos x="5174" y="1481"/>
                </a:cxn>
                <a:cxn ang="0">
                  <a:pos x="5470" y="1540"/>
                </a:cxn>
                <a:cxn ang="0">
                  <a:pos x="5686" y="1607"/>
                </a:cxn>
                <a:cxn ang="0">
                  <a:pos x="5733" y="1843"/>
                </a:cxn>
                <a:cxn ang="0">
                  <a:pos x="5647" y="2142"/>
                </a:cxn>
                <a:cxn ang="0">
                  <a:pos x="5553" y="2351"/>
                </a:cxn>
                <a:cxn ang="0">
                  <a:pos x="5438" y="2615"/>
                </a:cxn>
                <a:cxn ang="0">
                  <a:pos x="5099" y="3166"/>
                </a:cxn>
                <a:cxn ang="0">
                  <a:pos x="4731" y="3414"/>
                </a:cxn>
                <a:cxn ang="0">
                  <a:pos x="4749" y="3552"/>
                </a:cxn>
                <a:cxn ang="0">
                  <a:pos x="4741" y="3903"/>
                </a:cxn>
                <a:cxn ang="0">
                  <a:pos x="4382" y="4222"/>
                </a:cxn>
                <a:cxn ang="0">
                  <a:pos x="4315" y="4490"/>
                </a:cxn>
                <a:cxn ang="0">
                  <a:pos x="4275" y="4931"/>
                </a:cxn>
                <a:cxn ang="0">
                  <a:pos x="3877" y="5530"/>
                </a:cxn>
                <a:cxn ang="0">
                  <a:pos x="977" y="5309"/>
                </a:cxn>
                <a:cxn ang="0">
                  <a:pos x="843" y="5207"/>
                </a:cxn>
                <a:cxn ang="0">
                  <a:pos x="626" y="4802"/>
                </a:cxn>
                <a:cxn ang="0">
                  <a:pos x="294" y="4195"/>
                </a:cxn>
                <a:cxn ang="0">
                  <a:pos x="1127" y="2142"/>
                </a:cxn>
                <a:cxn ang="0">
                  <a:pos x="787" y="1898"/>
                </a:cxn>
                <a:cxn ang="0">
                  <a:pos x="389" y="1859"/>
                </a:cxn>
                <a:cxn ang="0">
                  <a:pos x="42" y="1016"/>
                </a:cxn>
              </a:cxnLst>
              <a:rect l="0" t="0" r="r" b="b"/>
              <a:pathLst>
                <a:path w="5769" h="5530">
                  <a:moveTo>
                    <a:pt x="42" y="1016"/>
                  </a:moveTo>
                  <a:lnTo>
                    <a:pt x="0" y="630"/>
                  </a:lnTo>
                  <a:lnTo>
                    <a:pt x="105" y="614"/>
                  </a:lnTo>
                  <a:lnTo>
                    <a:pt x="255" y="481"/>
                  </a:lnTo>
                  <a:lnTo>
                    <a:pt x="342" y="488"/>
                  </a:lnTo>
                  <a:lnTo>
                    <a:pt x="457" y="413"/>
                  </a:lnTo>
                  <a:lnTo>
                    <a:pt x="578" y="413"/>
                  </a:lnTo>
                  <a:lnTo>
                    <a:pt x="729" y="291"/>
                  </a:lnTo>
                  <a:lnTo>
                    <a:pt x="918" y="331"/>
                  </a:lnTo>
                  <a:lnTo>
                    <a:pt x="984" y="284"/>
                  </a:lnTo>
                  <a:lnTo>
                    <a:pt x="1249" y="338"/>
                  </a:lnTo>
                  <a:lnTo>
                    <a:pt x="1355" y="311"/>
                  </a:lnTo>
                  <a:lnTo>
                    <a:pt x="1343" y="263"/>
                  </a:lnTo>
                  <a:lnTo>
                    <a:pt x="1249" y="169"/>
                  </a:lnTo>
                  <a:lnTo>
                    <a:pt x="1336" y="63"/>
                  </a:lnTo>
                  <a:lnTo>
                    <a:pt x="1457" y="63"/>
                  </a:lnTo>
                  <a:lnTo>
                    <a:pt x="1761" y="0"/>
                  </a:lnTo>
                  <a:lnTo>
                    <a:pt x="1883" y="102"/>
                  </a:lnTo>
                  <a:lnTo>
                    <a:pt x="1883" y="224"/>
                  </a:lnTo>
                  <a:lnTo>
                    <a:pt x="1911" y="299"/>
                  </a:lnTo>
                  <a:lnTo>
                    <a:pt x="2033" y="319"/>
                  </a:lnTo>
                  <a:lnTo>
                    <a:pt x="2194" y="433"/>
                  </a:lnTo>
                  <a:lnTo>
                    <a:pt x="2424" y="508"/>
                  </a:lnTo>
                  <a:lnTo>
                    <a:pt x="2470" y="614"/>
                  </a:lnTo>
                  <a:lnTo>
                    <a:pt x="2612" y="784"/>
                  </a:lnTo>
                  <a:lnTo>
                    <a:pt x="2601" y="879"/>
                  </a:lnTo>
                  <a:lnTo>
                    <a:pt x="2679" y="1161"/>
                  </a:lnTo>
                  <a:lnTo>
                    <a:pt x="2789" y="1217"/>
                  </a:lnTo>
                  <a:lnTo>
                    <a:pt x="2829" y="1292"/>
                  </a:lnTo>
                  <a:lnTo>
                    <a:pt x="2944" y="1559"/>
                  </a:lnTo>
                  <a:lnTo>
                    <a:pt x="3180" y="1634"/>
                  </a:lnTo>
                  <a:lnTo>
                    <a:pt x="3085" y="1736"/>
                  </a:lnTo>
                  <a:lnTo>
                    <a:pt x="2782" y="1843"/>
                  </a:lnTo>
                  <a:lnTo>
                    <a:pt x="2971" y="1870"/>
                  </a:lnTo>
                  <a:lnTo>
                    <a:pt x="2971" y="2059"/>
                  </a:lnTo>
                  <a:lnTo>
                    <a:pt x="3046" y="2154"/>
                  </a:lnTo>
                  <a:lnTo>
                    <a:pt x="3026" y="1906"/>
                  </a:lnTo>
                  <a:lnTo>
                    <a:pt x="3389" y="1717"/>
                  </a:lnTo>
                  <a:lnTo>
                    <a:pt x="3558" y="1588"/>
                  </a:lnTo>
                  <a:lnTo>
                    <a:pt x="3625" y="1595"/>
                  </a:lnTo>
                  <a:lnTo>
                    <a:pt x="3641" y="1736"/>
                  </a:lnTo>
                  <a:lnTo>
                    <a:pt x="3688" y="1831"/>
                  </a:lnTo>
                  <a:lnTo>
                    <a:pt x="3661" y="1953"/>
                  </a:lnTo>
                  <a:lnTo>
                    <a:pt x="3546" y="1965"/>
                  </a:lnTo>
                  <a:lnTo>
                    <a:pt x="3578" y="2047"/>
                  </a:lnTo>
                  <a:lnTo>
                    <a:pt x="3641" y="2068"/>
                  </a:lnTo>
                  <a:lnTo>
                    <a:pt x="3728" y="1984"/>
                  </a:lnTo>
                  <a:lnTo>
                    <a:pt x="3775" y="2013"/>
                  </a:lnTo>
                  <a:lnTo>
                    <a:pt x="3870" y="2013"/>
                  </a:lnTo>
                  <a:lnTo>
                    <a:pt x="3991" y="1965"/>
                  </a:lnTo>
                  <a:lnTo>
                    <a:pt x="4059" y="2013"/>
                  </a:lnTo>
                  <a:lnTo>
                    <a:pt x="4098" y="2047"/>
                  </a:lnTo>
                  <a:lnTo>
                    <a:pt x="4241" y="1984"/>
                  </a:lnTo>
                  <a:lnTo>
                    <a:pt x="4275" y="2020"/>
                  </a:lnTo>
                  <a:lnTo>
                    <a:pt x="4256" y="2134"/>
                  </a:lnTo>
                  <a:lnTo>
                    <a:pt x="4153" y="2316"/>
                  </a:lnTo>
                  <a:lnTo>
                    <a:pt x="4161" y="2391"/>
                  </a:lnTo>
                  <a:lnTo>
                    <a:pt x="4209" y="2343"/>
                  </a:lnTo>
                  <a:lnTo>
                    <a:pt x="4370" y="2020"/>
                  </a:lnTo>
                  <a:lnTo>
                    <a:pt x="4618" y="1823"/>
                  </a:lnTo>
                  <a:lnTo>
                    <a:pt x="4701" y="1843"/>
                  </a:lnTo>
                  <a:lnTo>
                    <a:pt x="4720" y="1811"/>
                  </a:lnTo>
                  <a:lnTo>
                    <a:pt x="4713" y="1756"/>
                  </a:lnTo>
                  <a:lnTo>
                    <a:pt x="4870" y="1540"/>
                  </a:lnTo>
                  <a:lnTo>
                    <a:pt x="5079" y="1445"/>
                  </a:lnTo>
                  <a:lnTo>
                    <a:pt x="5174" y="1481"/>
                  </a:lnTo>
                  <a:lnTo>
                    <a:pt x="5249" y="1453"/>
                  </a:lnTo>
                  <a:lnTo>
                    <a:pt x="5470" y="1540"/>
                  </a:lnTo>
                  <a:lnTo>
                    <a:pt x="5565" y="1622"/>
                  </a:lnTo>
                  <a:lnTo>
                    <a:pt x="5686" y="1607"/>
                  </a:lnTo>
                  <a:lnTo>
                    <a:pt x="5769" y="1702"/>
                  </a:lnTo>
                  <a:lnTo>
                    <a:pt x="5733" y="1843"/>
                  </a:lnTo>
                  <a:lnTo>
                    <a:pt x="5733" y="2013"/>
                  </a:lnTo>
                  <a:lnTo>
                    <a:pt x="5647" y="2142"/>
                  </a:lnTo>
                  <a:lnTo>
                    <a:pt x="5640" y="2237"/>
                  </a:lnTo>
                  <a:lnTo>
                    <a:pt x="5553" y="2351"/>
                  </a:lnTo>
                  <a:lnTo>
                    <a:pt x="5553" y="2493"/>
                  </a:lnTo>
                  <a:lnTo>
                    <a:pt x="5438" y="2615"/>
                  </a:lnTo>
                  <a:lnTo>
                    <a:pt x="5356" y="2788"/>
                  </a:lnTo>
                  <a:lnTo>
                    <a:pt x="5099" y="3166"/>
                  </a:lnTo>
                  <a:lnTo>
                    <a:pt x="4950" y="3202"/>
                  </a:lnTo>
                  <a:lnTo>
                    <a:pt x="4731" y="3414"/>
                  </a:lnTo>
                  <a:lnTo>
                    <a:pt x="4618" y="3525"/>
                  </a:lnTo>
                  <a:lnTo>
                    <a:pt x="4749" y="3552"/>
                  </a:lnTo>
                  <a:lnTo>
                    <a:pt x="4824" y="3608"/>
                  </a:lnTo>
                  <a:lnTo>
                    <a:pt x="4741" y="3903"/>
                  </a:lnTo>
                  <a:lnTo>
                    <a:pt x="4540" y="4127"/>
                  </a:lnTo>
                  <a:lnTo>
                    <a:pt x="4382" y="4222"/>
                  </a:lnTo>
                  <a:lnTo>
                    <a:pt x="4382" y="4289"/>
                  </a:lnTo>
                  <a:lnTo>
                    <a:pt x="4315" y="4490"/>
                  </a:lnTo>
                  <a:lnTo>
                    <a:pt x="4362" y="4612"/>
                  </a:lnTo>
                  <a:lnTo>
                    <a:pt x="4275" y="4931"/>
                  </a:lnTo>
                  <a:lnTo>
                    <a:pt x="4086" y="5179"/>
                  </a:lnTo>
                  <a:lnTo>
                    <a:pt x="3877" y="5530"/>
                  </a:lnTo>
                  <a:lnTo>
                    <a:pt x="1024" y="5356"/>
                  </a:lnTo>
                  <a:lnTo>
                    <a:pt x="977" y="5309"/>
                  </a:lnTo>
                  <a:lnTo>
                    <a:pt x="890" y="5273"/>
                  </a:lnTo>
                  <a:lnTo>
                    <a:pt x="843" y="5207"/>
                  </a:lnTo>
                  <a:lnTo>
                    <a:pt x="634" y="5018"/>
                  </a:lnTo>
                  <a:lnTo>
                    <a:pt x="626" y="4802"/>
                  </a:lnTo>
                  <a:lnTo>
                    <a:pt x="420" y="4423"/>
                  </a:lnTo>
                  <a:lnTo>
                    <a:pt x="294" y="4195"/>
                  </a:lnTo>
                  <a:lnTo>
                    <a:pt x="626" y="3403"/>
                  </a:lnTo>
                  <a:lnTo>
                    <a:pt x="1127" y="2142"/>
                  </a:lnTo>
                  <a:lnTo>
                    <a:pt x="1013" y="2047"/>
                  </a:lnTo>
                  <a:lnTo>
                    <a:pt x="787" y="1898"/>
                  </a:lnTo>
                  <a:lnTo>
                    <a:pt x="681" y="1898"/>
                  </a:lnTo>
                  <a:lnTo>
                    <a:pt x="389" y="1859"/>
                  </a:lnTo>
                  <a:lnTo>
                    <a:pt x="86" y="1406"/>
                  </a:lnTo>
                  <a:lnTo>
                    <a:pt x="42" y="1016"/>
                  </a:lnTo>
                  <a:lnTo>
                    <a:pt x="42" y="1016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29" name="Freeform 21">
              <a:extLst>
                <a:ext uri="{FF2B5EF4-FFF2-40B4-BE49-F238E27FC236}">
                  <a16:creationId xmlns:a16="http://schemas.microsoft.com/office/drawing/2014/main" id="{FA81F3E6-A37F-46D1-B627-8E632DEDCE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2491" y="2096379"/>
              <a:ext cx="1530083" cy="1218468"/>
            </a:xfrm>
            <a:custGeom>
              <a:avLst/>
              <a:gdLst/>
              <a:ahLst/>
              <a:cxnLst>
                <a:cxn ang="0">
                  <a:pos x="1370" y="642"/>
                </a:cxn>
                <a:cxn ang="0">
                  <a:pos x="1411" y="272"/>
                </a:cxn>
                <a:cxn ang="0">
                  <a:pos x="1508" y="0"/>
                </a:cxn>
                <a:cxn ang="0">
                  <a:pos x="1722" y="595"/>
                </a:cxn>
                <a:cxn ang="0">
                  <a:pos x="1978" y="850"/>
                </a:cxn>
                <a:cxn ang="0">
                  <a:pos x="2112" y="933"/>
                </a:cxn>
                <a:cxn ang="0">
                  <a:pos x="4776" y="1702"/>
                </a:cxn>
                <a:cxn ang="0">
                  <a:pos x="4843" y="2513"/>
                </a:cxn>
                <a:cxn ang="0">
                  <a:pos x="4634" y="3202"/>
                </a:cxn>
                <a:cxn ang="0">
                  <a:pos x="4465" y="3404"/>
                </a:cxn>
                <a:cxn ang="0">
                  <a:pos x="4221" y="3770"/>
                </a:cxn>
                <a:cxn ang="0">
                  <a:pos x="3937" y="4045"/>
                </a:cxn>
                <a:cxn ang="0">
                  <a:pos x="3680" y="4479"/>
                </a:cxn>
                <a:cxn ang="0">
                  <a:pos x="3539" y="4659"/>
                </a:cxn>
                <a:cxn ang="0">
                  <a:pos x="3355" y="4441"/>
                </a:cxn>
                <a:cxn ang="0">
                  <a:pos x="3247" y="4518"/>
                </a:cxn>
                <a:cxn ang="0">
                  <a:pos x="2944" y="4573"/>
                </a:cxn>
                <a:cxn ang="0">
                  <a:pos x="2349" y="4431"/>
                </a:cxn>
                <a:cxn ang="0">
                  <a:pos x="2072" y="4593"/>
                </a:cxn>
                <a:cxn ang="0">
                  <a:pos x="1809" y="4856"/>
                </a:cxn>
                <a:cxn ang="0">
                  <a:pos x="1477" y="4510"/>
                </a:cxn>
                <a:cxn ang="0">
                  <a:pos x="1450" y="4195"/>
                </a:cxn>
                <a:cxn ang="0">
                  <a:pos x="721" y="4072"/>
                </a:cxn>
                <a:cxn ang="0">
                  <a:pos x="646" y="3734"/>
                </a:cxn>
                <a:cxn ang="0">
                  <a:pos x="566" y="3506"/>
                </a:cxn>
                <a:cxn ang="0">
                  <a:pos x="587" y="3297"/>
                </a:cxn>
                <a:cxn ang="0">
                  <a:pos x="559" y="3060"/>
                </a:cxn>
                <a:cxn ang="0">
                  <a:pos x="445" y="2836"/>
                </a:cxn>
                <a:cxn ang="0">
                  <a:pos x="654" y="2533"/>
                </a:cxn>
                <a:cxn ang="0">
                  <a:pos x="748" y="2194"/>
                </a:cxn>
                <a:cxn ang="0">
                  <a:pos x="682" y="1918"/>
                </a:cxn>
                <a:cxn ang="0">
                  <a:pos x="626" y="1709"/>
                </a:cxn>
                <a:cxn ang="0">
                  <a:pos x="39" y="1465"/>
                </a:cxn>
                <a:cxn ang="0">
                  <a:pos x="78" y="1142"/>
                </a:cxn>
                <a:cxn ang="0">
                  <a:pos x="66" y="709"/>
                </a:cxn>
              </a:cxnLst>
              <a:rect l="0" t="0" r="r" b="b"/>
              <a:pathLst>
                <a:path w="4965" h="4856">
                  <a:moveTo>
                    <a:pt x="66" y="709"/>
                  </a:moveTo>
                  <a:lnTo>
                    <a:pt x="1370" y="642"/>
                  </a:lnTo>
                  <a:lnTo>
                    <a:pt x="1411" y="433"/>
                  </a:lnTo>
                  <a:lnTo>
                    <a:pt x="1411" y="272"/>
                  </a:lnTo>
                  <a:lnTo>
                    <a:pt x="1418" y="177"/>
                  </a:lnTo>
                  <a:lnTo>
                    <a:pt x="1508" y="0"/>
                  </a:lnTo>
                  <a:lnTo>
                    <a:pt x="1714" y="379"/>
                  </a:lnTo>
                  <a:lnTo>
                    <a:pt x="1722" y="595"/>
                  </a:lnTo>
                  <a:lnTo>
                    <a:pt x="1931" y="784"/>
                  </a:lnTo>
                  <a:lnTo>
                    <a:pt x="1978" y="850"/>
                  </a:lnTo>
                  <a:lnTo>
                    <a:pt x="2065" y="886"/>
                  </a:lnTo>
                  <a:lnTo>
                    <a:pt x="2112" y="933"/>
                  </a:lnTo>
                  <a:lnTo>
                    <a:pt x="4965" y="1107"/>
                  </a:lnTo>
                  <a:lnTo>
                    <a:pt x="4776" y="1702"/>
                  </a:lnTo>
                  <a:lnTo>
                    <a:pt x="4776" y="2288"/>
                  </a:lnTo>
                  <a:lnTo>
                    <a:pt x="4843" y="2513"/>
                  </a:lnTo>
                  <a:lnTo>
                    <a:pt x="4729" y="2729"/>
                  </a:lnTo>
                  <a:lnTo>
                    <a:pt x="4634" y="3202"/>
                  </a:lnTo>
                  <a:lnTo>
                    <a:pt x="4513" y="3423"/>
                  </a:lnTo>
                  <a:lnTo>
                    <a:pt x="4465" y="3404"/>
                  </a:lnTo>
                  <a:lnTo>
                    <a:pt x="4398" y="3438"/>
                  </a:lnTo>
                  <a:lnTo>
                    <a:pt x="4221" y="3770"/>
                  </a:lnTo>
                  <a:lnTo>
                    <a:pt x="4098" y="3809"/>
                  </a:lnTo>
                  <a:lnTo>
                    <a:pt x="3937" y="4045"/>
                  </a:lnTo>
                  <a:lnTo>
                    <a:pt x="3736" y="4261"/>
                  </a:lnTo>
                  <a:lnTo>
                    <a:pt x="3680" y="4479"/>
                  </a:lnTo>
                  <a:lnTo>
                    <a:pt x="3689" y="4754"/>
                  </a:lnTo>
                  <a:lnTo>
                    <a:pt x="3539" y="4659"/>
                  </a:lnTo>
                  <a:lnTo>
                    <a:pt x="3444" y="4451"/>
                  </a:lnTo>
                  <a:lnTo>
                    <a:pt x="3355" y="4441"/>
                  </a:lnTo>
                  <a:lnTo>
                    <a:pt x="3310" y="4518"/>
                  </a:lnTo>
                  <a:lnTo>
                    <a:pt x="3247" y="4518"/>
                  </a:lnTo>
                  <a:lnTo>
                    <a:pt x="3066" y="4490"/>
                  </a:lnTo>
                  <a:lnTo>
                    <a:pt x="2944" y="4573"/>
                  </a:lnTo>
                  <a:lnTo>
                    <a:pt x="2424" y="4396"/>
                  </a:lnTo>
                  <a:lnTo>
                    <a:pt x="2349" y="4431"/>
                  </a:lnTo>
                  <a:lnTo>
                    <a:pt x="2186" y="4463"/>
                  </a:lnTo>
                  <a:lnTo>
                    <a:pt x="2072" y="4593"/>
                  </a:lnTo>
                  <a:lnTo>
                    <a:pt x="1875" y="4734"/>
                  </a:lnTo>
                  <a:lnTo>
                    <a:pt x="1809" y="4856"/>
                  </a:lnTo>
                  <a:lnTo>
                    <a:pt x="1686" y="4605"/>
                  </a:lnTo>
                  <a:lnTo>
                    <a:pt x="1477" y="4510"/>
                  </a:lnTo>
                  <a:lnTo>
                    <a:pt x="1411" y="4309"/>
                  </a:lnTo>
                  <a:lnTo>
                    <a:pt x="1450" y="4195"/>
                  </a:lnTo>
                  <a:lnTo>
                    <a:pt x="1458" y="4065"/>
                  </a:lnTo>
                  <a:lnTo>
                    <a:pt x="721" y="4072"/>
                  </a:lnTo>
                  <a:lnTo>
                    <a:pt x="661" y="4037"/>
                  </a:lnTo>
                  <a:lnTo>
                    <a:pt x="646" y="3734"/>
                  </a:lnTo>
                  <a:lnTo>
                    <a:pt x="504" y="3572"/>
                  </a:lnTo>
                  <a:lnTo>
                    <a:pt x="566" y="3506"/>
                  </a:lnTo>
                  <a:lnTo>
                    <a:pt x="551" y="3423"/>
                  </a:lnTo>
                  <a:lnTo>
                    <a:pt x="587" y="3297"/>
                  </a:lnTo>
                  <a:lnTo>
                    <a:pt x="512" y="3166"/>
                  </a:lnTo>
                  <a:lnTo>
                    <a:pt x="559" y="3060"/>
                  </a:lnTo>
                  <a:lnTo>
                    <a:pt x="370" y="2911"/>
                  </a:lnTo>
                  <a:lnTo>
                    <a:pt x="445" y="2836"/>
                  </a:lnTo>
                  <a:lnTo>
                    <a:pt x="551" y="2702"/>
                  </a:lnTo>
                  <a:lnTo>
                    <a:pt x="654" y="2533"/>
                  </a:lnTo>
                  <a:lnTo>
                    <a:pt x="721" y="2399"/>
                  </a:lnTo>
                  <a:lnTo>
                    <a:pt x="748" y="2194"/>
                  </a:lnTo>
                  <a:lnTo>
                    <a:pt x="654" y="2005"/>
                  </a:lnTo>
                  <a:lnTo>
                    <a:pt x="682" y="1918"/>
                  </a:lnTo>
                  <a:lnTo>
                    <a:pt x="709" y="1777"/>
                  </a:lnTo>
                  <a:lnTo>
                    <a:pt x="626" y="1709"/>
                  </a:lnTo>
                  <a:lnTo>
                    <a:pt x="248" y="1674"/>
                  </a:lnTo>
                  <a:lnTo>
                    <a:pt x="39" y="1465"/>
                  </a:lnTo>
                  <a:lnTo>
                    <a:pt x="0" y="1370"/>
                  </a:lnTo>
                  <a:lnTo>
                    <a:pt x="78" y="1142"/>
                  </a:lnTo>
                  <a:lnTo>
                    <a:pt x="39" y="859"/>
                  </a:lnTo>
                  <a:lnTo>
                    <a:pt x="66" y="709"/>
                  </a:lnTo>
                  <a:lnTo>
                    <a:pt x="66" y="709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EBBBC16D-E638-4ACF-8012-B7E34BCF8A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4289" y="2189038"/>
              <a:ext cx="950979" cy="637032"/>
            </a:xfrm>
            <a:custGeom>
              <a:avLst/>
              <a:gdLst/>
              <a:ahLst/>
              <a:cxnLst>
                <a:cxn ang="0">
                  <a:pos x="2402" y="342"/>
                </a:cxn>
                <a:cxn ang="0">
                  <a:pos x="2375" y="492"/>
                </a:cxn>
                <a:cxn ang="0">
                  <a:pos x="2414" y="775"/>
                </a:cxn>
                <a:cxn ang="0">
                  <a:pos x="2336" y="1003"/>
                </a:cxn>
                <a:cxn ang="0">
                  <a:pos x="2375" y="1098"/>
                </a:cxn>
                <a:cxn ang="0">
                  <a:pos x="2584" y="1307"/>
                </a:cxn>
                <a:cxn ang="0">
                  <a:pos x="2962" y="1342"/>
                </a:cxn>
                <a:cxn ang="0">
                  <a:pos x="3045" y="1410"/>
                </a:cxn>
                <a:cxn ang="0">
                  <a:pos x="3018" y="1551"/>
                </a:cxn>
                <a:cxn ang="0">
                  <a:pos x="2990" y="1638"/>
                </a:cxn>
                <a:cxn ang="0">
                  <a:pos x="3084" y="1827"/>
                </a:cxn>
                <a:cxn ang="0">
                  <a:pos x="3057" y="2032"/>
                </a:cxn>
                <a:cxn ang="0">
                  <a:pos x="2990" y="2166"/>
                </a:cxn>
                <a:cxn ang="0">
                  <a:pos x="2887" y="2335"/>
                </a:cxn>
                <a:cxn ang="0">
                  <a:pos x="2781" y="2469"/>
                </a:cxn>
                <a:cxn ang="0">
                  <a:pos x="2706" y="2544"/>
                </a:cxn>
                <a:cxn ang="0">
                  <a:pos x="2564" y="2488"/>
                </a:cxn>
                <a:cxn ang="0">
                  <a:pos x="2261" y="2516"/>
                </a:cxn>
                <a:cxn ang="0">
                  <a:pos x="2098" y="2335"/>
                </a:cxn>
                <a:cxn ang="0">
                  <a:pos x="1949" y="2316"/>
                </a:cxn>
                <a:cxn ang="0">
                  <a:pos x="1760" y="2213"/>
                </a:cxn>
                <a:cxn ang="0">
                  <a:pos x="1693" y="2138"/>
                </a:cxn>
                <a:cxn ang="0">
                  <a:pos x="1638" y="2138"/>
                </a:cxn>
                <a:cxn ang="0">
                  <a:pos x="1590" y="2146"/>
                </a:cxn>
                <a:cxn ang="0">
                  <a:pos x="1469" y="2063"/>
                </a:cxn>
                <a:cxn ang="0">
                  <a:pos x="1240" y="2091"/>
                </a:cxn>
                <a:cxn ang="0">
                  <a:pos x="1138" y="2071"/>
                </a:cxn>
                <a:cxn ang="0">
                  <a:pos x="1051" y="1930"/>
                </a:cxn>
                <a:cxn ang="0">
                  <a:pos x="948" y="1901"/>
                </a:cxn>
                <a:cxn ang="0">
                  <a:pos x="786" y="1780"/>
                </a:cxn>
                <a:cxn ang="0">
                  <a:pos x="665" y="1484"/>
                </a:cxn>
                <a:cxn ang="0">
                  <a:pos x="692" y="1401"/>
                </a:cxn>
                <a:cxn ang="0">
                  <a:pos x="625" y="1221"/>
                </a:cxn>
                <a:cxn ang="0">
                  <a:pos x="680" y="1031"/>
                </a:cxn>
                <a:cxn ang="0">
                  <a:pos x="653" y="869"/>
                </a:cxn>
                <a:cxn ang="0">
                  <a:pos x="606" y="842"/>
                </a:cxn>
                <a:cxn ang="0">
                  <a:pos x="531" y="917"/>
                </a:cxn>
                <a:cxn ang="0">
                  <a:pos x="239" y="917"/>
                </a:cxn>
                <a:cxn ang="0">
                  <a:pos x="165" y="960"/>
                </a:cxn>
                <a:cxn ang="0">
                  <a:pos x="0" y="887"/>
                </a:cxn>
                <a:cxn ang="0">
                  <a:pos x="254" y="680"/>
                </a:cxn>
                <a:cxn ang="0">
                  <a:pos x="381" y="673"/>
                </a:cxn>
                <a:cxn ang="0">
                  <a:pos x="511" y="721"/>
                </a:cxn>
                <a:cxn ang="0">
                  <a:pos x="699" y="646"/>
                </a:cxn>
                <a:cxn ang="0">
                  <a:pos x="786" y="646"/>
                </a:cxn>
                <a:cxn ang="0">
                  <a:pos x="908" y="483"/>
                </a:cxn>
                <a:cxn ang="0">
                  <a:pos x="1173" y="408"/>
                </a:cxn>
                <a:cxn ang="0">
                  <a:pos x="1260" y="330"/>
                </a:cxn>
                <a:cxn ang="0">
                  <a:pos x="1232" y="180"/>
                </a:cxn>
                <a:cxn ang="0">
                  <a:pos x="1342" y="94"/>
                </a:cxn>
                <a:cxn ang="0">
                  <a:pos x="1401" y="66"/>
                </a:cxn>
                <a:cxn ang="0">
                  <a:pos x="1421" y="0"/>
                </a:cxn>
                <a:cxn ang="0">
                  <a:pos x="1768" y="0"/>
                </a:cxn>
                <a:cxn ang="0">
                  <a:pos x="1996" y="220"/>
                </a:cxn>
                <a:cxn ang="0">
                  <a:pos x="2402" y="342"/>
                </a:cxn>
                <a:cxn ang="0">
                  <a:pos x="2402" y="342"/>
                </a:cxn>
              </a:cxnLst>
              <a:rect l="0" t="0" r="r" b="b"/>
              <a:pathLst>
                <a:path w="3084" h="2544">
                  <a:moveTo>
                    <a:pt x="2402" y="342"/>
                  </a:moveTo>
                  <a:lnTo>
                    <a:pt x="2375" y="492"/>
                  </a:lnTo>
                  <a:lnTo>
                    <a:pt x="2414" y="775"/>
                  </a:lnTo>
                  <a:lnTo>
                    <a:pt x="2336" y="1003"/>
                  </a:lnTo>
                  <a:lnTo>
                    <a:pt x="2375" y="1098"/>
                  </a:lnTo>
                  <a:lnTo>
                    <a:pt x="2584" y="1307"/>
                  </a:lnTo>
                  <a:lnTo>
                    <a:pt x="2962" y="1342"/>
                  </a:lnTo>
                  <a:lnTo>
                    <a:pt x="3045" y="1410"/>
                  </a:lnTo>
                  <a:lnTo>
                    <a:pt x="3018" y="1551"/>
                  </a:lnTo>
                  <a:lnTo>
                    <a:pt x="2990" y="1638"/>
                  </a:lnTo>
                  <a:lnTo>
                    <a:pt x="3084" y="1827"/>
                  </a:lnTo>
                  <a:lnTo>
                    <a:pt x="3057" y="2032"/>
                  </a:lnTo>
                  <a:lnTo>
                    <a:pt x="2990" y="2166"/>
                  </a:lnTo>
                  <a:lnTo>
                    <a:pt x="2887" y="2335"/>
                  </a:lnTo>
                  <a:lnTo>
                    <a:pt x="2781" y="2469"/>
                  </a:lnTo>
                  <a:lnTo>
                    <a:pt x="2706" y="2544"/>
                  </a:lnTo>
                  <a:lnTo>
                    <a:pt x="2564" y="2488"/>
                  </a:lnTo>
                  <a:lnTo>
                    <a:pt x="2261" y="2516"/>
                  </a:lnTo>
                  <a:lnTo>
                    <a:pt x="2098" y="2335"/>
                  </a:lnTo>
                  <a:lnTo>
                    <a:pt x="1949" y="2316"/>
                  </a:lnTo>
                  <a:lnTo>
                    <a:pt x="1760" y="2213"/>
                  </a:lnTo>
                  <a:lnTo>
                    <a:pt x="1693" y="2138"/>
                  </a:lnTo>
                  <a:lnTo>
                    <a:pt x="1638" y="2138"/>
                  </a:lnTo>
                  <a:lnTo>
                    <a:pt x="1590" y="2146"/>
                  </a:lnTo>
                  <a:lnTo>
                    <a:pt x="1469" y="2063"/>
                  </a:lnTo>
                  <a:lnTo>
                    <a:pt x="1240" y="2091"/>
                  </a:lnTo>
                  <a:lnTo>
                    <a:pt x="1138" y="2071"/>
                  </a:lnTo>
                  <a:lnTo>
                    <a:pt x="1051" y="1930"/>
                  </a:lnTo>
                  <a:lnTo>
                    <a:pt x="948" y="1901"/>
                  </a:lnTo>
                  <a:lnTo>
                    <a:pt x="786" y="1780"/>
                  </a:lnTo>
                  <a:lnTo>
                    <a:pt x="665" y="1484"/>
                  </a:lnTo>
                  <a:lnTo>
                    <a:pt x="692" y="1401"/>
                  </a:lnTo>
                  <a:lnTo>
                    <a:pt x="625" y="1221"/>
                  </a:lnTo>
                  <a:lnTo>
                    <a:pt x="680" y="1031"/>
                  </a:lnTo>
                  <a:lnTo>
                    <a:pt x="653" y="869"/>
                  </a:lnTo>
                  <a:lnTo>
                    <a:pt x="606" y="842"/>
                  </a:lnTo>
                  <a:lnTo>
                    <a:pt x="531" y="917"/>
                  </a:lnTo>
                  <a:lnTo>
                    <a:pt x="239" y="917"/>
                  </a:lnTo>
                  <a:lnTo>
                    <a:pt x="165" y="960"/>
                  </a:lnTo>
                  <a:lnTo>
                    <a:pt x="0" y="887"/>
                  </a:lnTo>
                  <a:lnTo>
                    <a:pt x="254" y="680"/>
                  </a:lnTo>
                  <a:lnTo>
                    <a:pt x="381" y="673"/>
                  </a:lnTo>
                  <a:lnTo>
                    <a:pt x="511" y="721"/>
                  </a:lnTo>
                  <a:lnTo>
                    <a:pt x="699" y="646"/>
                  </a:lnTo>
                  <a:lnTo>
                    <a:pt x="786" y="646"/>
                  </a:lnTo>
                  <a:lnTo>
                    <a:pt x="908" y="483"/>
                  </a:lnTo>
                  <a:lnTo>
                    <a:pt x="1173" y="408"/>
                  </a:lnTo>
                  <a:lnTo>
                    <a:pt x="1260" y="330"/>
                  </a:lnTo>
                  <a:lnTo>
                    <a:pt x="1232" y="180"/>
                  </a:lnTo>
                  <a:lnTo>
                    <a:pt x="1342" y="94"/>
                  </a:lnTo>
                  <a:lnTo>
                    <a:pt x="1401" y="66"/>
                  </a:lnTo>
                  <a:lnTo>
                    <a:pt x="1421" y="0"/>
                  </a:lnTo>
                  <a:lnTo>
                    <a:pt x="1768" y="0"/>
                  </a:lnTo>
                  <a:lnTo>
                    <a:pt x="1996" y="220"/>
                  </a:lnTo>
                  <a:lnTo>
                    <a:pt x="2402" y="342"/>
                  </a:lnTo>
                  <a:lnTo>
                    <a:pt x="2402" y="342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31" name="Freeform 23">
              <a:extLst>
                <a:ext uri="{FF2B5EF4-FFF2-40B4-BE49-F238E27FC236}">
                  <a16:creationId xmlns:a16="http://schemas.microsoft.com/office/drawing/2014/main" id="{F0B74647-567F-4EF0-BDCC-C0BD61844329}"/>
                </a:ext>
              </a:extLst>
            </p:cNvPr>
            <p:cNvSpPr>
              <a:spLocks/>
            </p:cNvSpPr>
            <p:nvPr/>
          </p:nvSpPr>
          <p:spPr bwMode="gray">
            <a:xfrm>
              <a:off x="990600" y="2149658"/>
              <a:ext cx="1024787" cy="437815"/>
            </a:xfrm>
            <a:custGeom>
              <a:avLst/>
              <a:gdLst/>
              <a:ahLst/>
              <a:cxnLst>
                <a:cxn ang="0">
                  <a:pos x="3166" y="1037"/>
                </a:cxn>
                <a:cxn ang="0">
                  <a:pos x="2759" y="859"/>
                </a:cxn>
                <a:cxn ang="0">
                  <a:pos x="1513" y="350"/>
                </a:cxn>
                <a:cxn ang="0">
                  <a:pos x="520" y="169"/>
                </a:cxn>
                <a:cxn ang="0">
                  <a:pos x="98" y="0"/>
                </a:cxn>
                <a:cxn ang="0">
                  <a:pos x="99" y="0"/>
                </a:cxn>
                <a:cxn ang="0">
                  <a:pos x="94" y="141"/>
                </a:cxn>
                <a:cxn ang="0">
                  <a:pos x="15" y="181"/>
                </a:cxn>
                <a:cxn ang="0">
                  <a:pos x="0" y="264"/>
                </a:cxn>
                <a:cxn ang="0">
                  <a:pos x="129" y="358"/>
                </a:cxn>
                <a:cxn ang="0">
                  <a:pos x="94" y="405"/>
                </a:cxn>
                <a:cxn ang="0">
                  <a:pos x="189" y="527"/>
                </a:cxn>
                <a:cxn ang="0">
                  <a:pos x="311" y="689"/>
                </a:cxn>
                <a:cxn ang="0">
                  <a:pos x="440" y="823"/>
                </a:cxn>
                <a:cxn ang="0">
                  <a:pos x="481" y="937"/>
                </a:cxn>
                <a:cxn ang="0">
                  <a:pos x="406" y="1039"/>
                </a:cxn>
                <a:cxn ang="0">
                  <a:pos x="425" y="1059"/>
                </a:cxn>
                <a:cxn ang="0">
                  <a:pos x="772" y="1079"/>
                </a:cxn>
                <a:cxn ang="0">
                  <a:pos x="906" y="1303"/>
                </a:cxn>
                <a:cxn ang="0">
                  <a:pos x="1162" y="1296"/>
                </a:cxn>
                <a:cxn ang="0">
                  <a:pos x="1501" y="1019"/>
                </a:cxn>
                <a:cxn ang="0">
                  <a:pos x="1548" y="1095"/>
                </a:cxn>
                <a:cxn ang="0">
                  <a:pos x="1521" y="1201"/>
                </a:cxn>
                <a:cxn ang="0">
                  <a:pos x="1569" y="1701"/>
                </a:cxn>
                <a:cxn ang="0">
                  <a:pos x="1662" y="1740"/>
                </a:cxn>
                <a:cxn ang="0">
                  <a:pos x="1805" y="1674"/>
                </a:cxn>
                <a:cxn ang="0">
                  <a:pos x="2021" y="1653"/>
                </a:cxn>
                <a:cxn ang="0">
                  <a:pos x="2317" y="1662"/>
                </a:cxn>
                <a:cxn ang="0">
                  <a:pos x="2373" y="1709"/>
                </a:cxn>
                <a:cxn ang="0">
                  <a:pos x="2541" y="1634"/>
                </a:cxn>
                <a:cxn ang="0">
                  <a:pos x="2648" y="1492"/>
                </a:cxn>
                <a:cxn ang="0">
                  <a:pos x="2790" y="1485"/>
                </a:cxn>
                <a:cxn ang="0">
                  <a:pos x="2837" y="1417"/>
                </a:cxn>
                <a:cxn ang="0">
                  <a:pos x="3073" y="1257"/>
                </a:cxn>
                <a:cxn ang="0">
                  <a:pos x="3331" y="1110"/>
                </a:cxn>
                <a:cxn ang="0">
                  <a:pos x="3166" y="1037"/>
                </a:cxn>
                <a:cxn ang="0">
                  <a:pos x="3166" y="1037"/>
                </a:cxn>
              </a:cxnLst>
              <a:rect l="0" t="0" r="r" b="b"/>
              <a:pathLst>
                <a:path w="3331" h="1740">
                  <a:moveTo>
                    <a:pt x="3166" y="1037"/>
                  </a:moveTo>
                  <a:lnTo>
                    <a:pt x="2759" y="859"/>
                  </a:lnTo>
                  <a:lnTo>
                    <a:pt x="1513" y="350"/>
                  </a:lnTo>
                  <a:lnTo>
                    <a:pt x="520" y="169"/>
                  </a:lnTo>
                  <a:lnTo>
                    <a:pt x="98" y="0"/>
                  </a:lnTo>
                  <a:lnTo>
                    <a:pt x="99" y="0"/>
                  </a:lnTo>
                  <a:lnTo>
                    <a:pt x="94" y="141"/>
                  </a:lnTo>
                  <a:lnTo>
                    <a:pt x="15" y="181"/>
                  </a:lnTo>
                  <a:lnTo>
                    <a:pt x="0" y="264"/>
                  </a:lnTo>
                  <a:lnTo>
                    <a:pt x="129" y="358"/>
                  </a:lnTo>
                  <a:lnTo>
                    <a:pt x="94" y="405"/>
                  </a:lnTo>
                  <a:lnTo>
                    <a:pt x="189" y="527"/>
                  </a:lnTo>
                  <a:lnTo>
                    <a:pt x="311" y="689"/>
                  </a:lnTo>
                  <a:lnTo>
                    <a:pt x="440" y="823"/>
                  </a:lnTo>
                  <a:lnTo>
                    <a:pt x="481" y="937"/>
                  </a:lnTo>
                  <a:lnTo>
                    <a:pt x="406" y="1039"/>
                  </a:lnTo>
                  <a:lnTo>
                    <a:pt x="425" y="1059"/>
                  </a:lnTo>
                  <a:lnTo>
                    <a:pt x="772" y="1079"/>
                  </a:lnTo>
                  <a:lnTo>
                    <a:pt x="906" y="1303"/>
                  </a:lnTo>
                  <a:lnTo>
                    <a:pt x="1162" y="1296"/>
                  </a:lnTo>
                  <a:lnTo>
                    <a:pt x="1501" y="1019"/>
                  </a:lnTo>
                  <a:lnTo>
                    <a:pt x="1548" y="1095"/>
                  </a:lnTo>
                  <a:lnTo>
                    <a:pt x="1521" y="1201"/>
                  </a:lnTo>
                  <a:lnTo>
                    <a:pt x="1569" y="1701"/>
                  </a:lnTo>
                  <a:lnTo>
                    <a:pt x="1662" y="1740"/>
                  </a:lnTo>
                  <a:lnTo>
                    <a:pt x="1805" y="1674"/>
                  </a:lnTo>
                  <a:lnTo>
                    <a:pt x="2021" y="1653"/>
                  </a:lnTo>
                  <a:lnTo>
                    <a:pt x="2317" y="1662"/>
                  </a:lnTo>
                  <a:lnTo>
                    <a:pt x="2373" y="1709"/>
                  </a:lnTo>
                  <a:lnTo>
                    <a:pt x="2541" y="1634"/>
                  </a:lnTo>
                  <a:lnTo>
                    <a:pt x="2648" y="1492"/>
                  </a:lnTo>
                  <a:lnTo>
                    <a:pt x="2790" y="1485"/>
                  </a:lnTo>
                  <a:lnTo>
                    <a:pt x="2837" y="1417"/>
                  </a:lnTo>
                  <a:lnTo>
                    <a:pt x="3073" y="1257"/>
                  </a:lnTo>
                  <a:lnTo>
                    <a:pt x="3331" y="1110"/>
                  </a:lnTo>
                  <a:lnTo>
                    <a:pt x="3166" y="1037"/>
                  </a:lnTo>
                  <a:lnTo>
                    <a:pt x="3166" y="103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32" name="Freeform 24">
              <a:extLst>
                <a:ext uri="{FF2B5EF4-FFF2-40B4-BE49-F238E27FC236}">
                  <a16:creationId xmlns:a16="http://schemas.microsoft.com/office/drawing/2014/main" id="{7017EB2D-C3E0-4ED3-9DED-54361E4D290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0472" y="1023848"/>
              <a:ext cx="2353320" cy="1389889"/>
            </a:xfrm>
            <a:custGeom>
              <a:avLst/>
              <a:gdLst/>
              <a:ahLst/>
              <a:cxnLst>
                <a:cxn ang="0">
                  <a:pos x="2855" y="605"/>
                </a:cxn>
                <a:cxn ang="0">
                  <a:pos x="2672" y="190"/>
                </a:cxn>
                <a:cxn ang="0">
                  <a:pos x="2351" y="284"/>
                </a:cxn>
                <a:cxn ang="0">
                  <a:pos x="2276" y="352"/>
                </a:cxn>
                <a:cxn ang="0">
                  <a:pos x="2181" y="407"/>
                </a:cxn>
                <a:cxn ang="0">
                  <a:pos x="1599" y="685"/>
                </a:cxn>
                <a:cxn ang="0">
                  <a:pos x="1837" y="731"/>
                </a:cxn>
                <a:cxn ang="0">
                  <a:pos x="1857" y="890"/>
                </a:cxn>
                <a:cxn ang="0">
                  <a:pos x="1517" y="950"/>
                </a:cxn>
                <a:cxn ang="0">
                  <a:pos x="1722" y="1452"/>
                </a:cxn>
                <a:cxn ang="0">
                  <a:pos x="1809" y="1716"/>
                </a:cxn>
                <a:cxn ang="0">
                  <a:pos x="1592" y="3094"/>
                </a:cxn>
                <a:cxn ang="0">
                  <a:pos x="1437" y="3085"/>
                </a:cxn>
                <a:cxn ang="0">
                  <a:pos x="1172" y="3201"/>
                </a:cxn>
                <a:cxn ang="0">
                  <a:pos x="336" y="3616"/>
                </a:cxn>
                <a:cxn ang="0">
                  <a:pos x="222" y="3995"/>
                </a:cxn>
                <a:cxn ang="0">
                  <a:pos x="4" y="4403"/>
                </a:cxn>
                <a:cxn ang="0">
                  <a:pos x="0" y="4490"/>
                </a:cxn>
                <a:cxn ang="0">
                  <a:pos x="1421" y="4842"/>
                </a:cxn>
                <a:cxn ang="0">
                  <a:pos x="3081" y="5533"/>
                </a:cxn>
                <a:cxn ang="0">
                  <a:pos x="3464" y="5318"/>
                </a:cxn>
                <a:cxn ang="0">
                  <a:pos x="3785" y="5289"/>
                </a:cxn>
                <a:cxn ang="0">
                  <a:pos x="3995" y="5127"/>
                </a:cxn>
                <a:cxn ang="0">
                  <a:pos x="4346" y="4973"/>
                </a:cxn>
                <a:cxn ang="0">
                  <a:pos x="4430" y="4736"/>
                </a:cxn>
                <a:cxn ang="0">
                  <a:pos x="4510" y="4641"/>
                </a:cxn>
                <a:cxn ang="0">
                  <a:pos x="5087" y="4862"/>
                </a:cxn>
                <a:cxn ang="0">
                  <a:pos x="6805" y="4917"/>
                </a:cxn>
                <a:cxn ang="0">
                  <a:pos x="6846" y="4546"/>
                </a:cxn>
                <a:cxn ang="0">
                  <a:pos x="6942" y="4273"/>
                </a:cxn>
                <a:cxn ang="0">
                  <a:pos x="7150" y="3248"/>
                </a:cxn>
                <a:cxn ang="0">
                  <a:pos x="7537" y="1887"/>
                </a:cxn>
                <a:cxn ang="0">
                  <a:pos x="7206" y="1737"/>
                </a:cxn>
                <a:cxn ang="0">
                  <a:pos x="6607" y="1242"/>
                </a:cxn>
                <a:cxn ang="0">
                  <a:pos x="6160" y="874"/>
                </a:cxn>
                <a:cxn ang="0">
                  <a:pos x="6010" y="1044"/>
                </a:cxn>
                <a:cxn ang="0">
                  <a:pos x="5875" y="1289"/>
                </a:cxn>
                <a:cxn ang="0">
                  <a:pos x="5602" y="1262"/>
                </a:cxn>
                <a:cxn ang="0">
                  <a:pos x="5365" y="1310"/>
                </a:cxn>
                <a:cxn ang="0">
                  <a:pos x="5238" y="1614"/>
                </a:cxn>
                <a:cxn ang="0">
                  <a:pos x="4906" y="1310"/>
                </a:cxn>
                <a:cxn ang="0">
                  <a:pos x="4964" y="1159"/>
                </a:cxn>
                <a:cxn ang="0">
                  <a:pos x="4660" y="150"/>
                </a:cxn>
                <a:cxn ang="0">
                  <a:pos x="4489" y="75"/>
                </a:cxn>
                <a:cxn ang="0">
                  <a:pos x="4193" y="332"/>
                </a:cxn>
                <a:cxn ang="0">
                  <a:pos x="4034" y="415"/>
                </a:cxn>
                <a:cxn ang="0">
                  <a:pos x="3730" y="589"/>
                </a:cxn>
                <a:cxn ang="0">
                  <a:pos x="3547" y="815"/>
                </a:cxn>
                <a:cxn ang="0">
                  <a:pos x="3512" y="673"/>
                </a:cxn>
                <a:cxn ang="0">
                  <a:pos x="3349" y="740"/>
                </a:cxn>
                <a:cxn ang="0">
                  <a:pos x="2921" y="589"/>
                </a:cxn>
              </a:cxnLst>
              <a:rect l="0" t="0" r="r" b="b"/>
              <a:pathLst>
                <a:path w="7653" h="5533">
                  <a:moveTo>
                    <a:pt x="2921" y="589"/>
                  </a:moveTo>
                  <a:lnTo>
                    <a:pt x="2855" y="605"/>
                  </a:lnTo>
                  <a:lnTo>
                    <a:pt x="2712" y="237"/>
                  </a:lnTo>
                  <a:lnTo>
                    <a:pt x="2672" y="190"/>
                  </a:lnTo>
                  <a:lnTo>
                    <a:pt x="2466" y="368"/>
                  </a:lnTo>
                  <a:lnTo>
                    <a:pt x="2351" y="284"/>
                  </a:lnTo>
                  <a:lnTo>
                    <a:pt x="2304" y="284"/>
                  </a:lnTo>
                  <a:lnTo>
                    <a:pt x="2276" y="352"/>
                  </a:lnTo>
                  <a:lnTo>
                    <a:pt x="2292" y="368"/>
                  </a:lnTo>
                  <a:lnTo>
                    <a:pt x="2181" y="407"/>
                  </a:lnTo>
                  <a:lnTo>
                    <a:pt x="1611" y="427"/>
                  </a:lnTo>
                  <a:lnTo>
                    <a:pt x="1599" y="685"/>
                  </a:lnTo>
                  <a:lnTo>
                    <a:pt x="1706" y="712"/>
                  </a:lnTo>
                  <a:lnTo>
                    <a:pt x="1837" y="731"/>
                  </a:lnTo>
                  <a:lnTo>
                    <a:pt x="1884" y="835"/>
                  </a:lnTo>
                  <a:lnTo>
                    <a:pt x="1857" y="890"/>
                  </a:lnTo>
                  <a:lnTo>
                    <a:pt x="1715" y="862"/>
                  </a:lnTo>
                  <a:lnTo>
                    <a:pt x="1517" y="950"/>
                  </a:lnTo>
                  <a:lnTo>
                    <a:pt x="1524" y="1281"/>
                  </a:lnTo>
                  <a:lnTo>
                    <a:pt x="1722" y="1452"/>
                  </a:lnTo>
                  <a:lnTo>
                    <a:pt x="1722" y="1586"/>
                  </a:lnTo>
                  <a:lnTo>
                    <a:pt x="1809" y="1716"/>
                  </a:lnTo>
                  <a:lnTo>
                    <a:pt x="1659" y="2964"/>
                  </a:lnTo>
                  <a:lnTo>
                    <a:pt x="1592" y="3094"/>
                  </a:lnTo>
                  <a:lnTo>
                    <a:pt x="1551" y="3161"/>
                  </a:lnTo>
                  <a:lnTo>
                    <a:pt x="1437" y="3085"/>
                  </a:lnTo>
                  <a:lnTo>
                    <a:pt x="1232" y="3106"/>
                  </a:lnTo>
                  <a:lnTo>
                    <a:pt x="1172" y="3201"/>
                  </a:lnTo>
                  <a:lnTo>
                    <a:pt x="764" y="3304"/>
                  </a:lnTo>
                  <a:lnTo>
                    <a:pt x="336" y="3616"/>
                  </a:lnTo>
                  <a:lnTo>
                    <a:pt x="329" y="3778"/>
                  </a:lnTo>
                  <a:lnTo>
                    <a:pt x="222" y="3995"/>
                  </a:lnTo>
                  <a:lnTo>
                    <a:pt x="242" y="4225"/>
                  </a:lnTo>
                  <a:lnTo>
                    <a:pt x="4" y="4403"/>
                  </a:lnTo>
                  <a:lnTo>
                    <a:pt x="1" y="4490"/>
                  </a:lnTo>
                  <a:lnTo>
                    <a:pt x="0" y="4490"/>
                  </a:lnTo>
                  <a:lnTo>
                    <a:pt x="423" y="4661"/>
                  </a:lnTo>
                  <a:lnTo>
                    <a:pt x="1421" y="4842"/>
                  </a:lnTo>
                  <a:lnTo>
                    <a:pt x="2672" y="5353"/>
                  </a:lnTo>
                  <a:lnTo>
                    <a:pt x="3081" y="5533"/>
                  </a:lnTo>
                  <a:lnTo>
                    <a:pt x="3338" y="5325"/>
                  </a:lnTo>
                  <a:lnTo>
                    <a:pt x="3464" y="5318"/>
                  </a:lnTo>
                  <a:lnTo>
                    <a:pt x="3595" y="5364"/>
                  </a:lnTo>
                  <a:lnTo>
                    <a:pt x="3785" y="5289"/>
                  </a:lnTo>
                  <a:lnTo>
                    <a:pt x="3872" y="5289"/>
                  </a:lnTo>
                  <a:lnTo>
                    <a:pt x="3995" y="5127"/>
                  </a:lnTo>
                  <a:lnTo>
                    <a:pt x="4259" y="5052"/>
                  </a:lnTo>
                  <a:lnTo>
                    <a:pt x="4346" y="4973"/>
                  </a:lnTo>
                  <a:lnTo>
                    <a:pt x="4319" y="4823"/>
                  </a:lnTo>
                  <a:lnTo>
                    <a:pt x="4430" y="4736"/>
                  </a:lnTo>
                  <a:lnTo>
                    <a:pt x="4489" y="4708"/>
                  </a:lnTo>
                  <a:lnTo>
                    <a:pt x="4510" y="4641"/>
                  </a:lnTo>
                  <a:lnTo>
                    <a:pt x="4858" y="4641"/>
                  </a:lnTo>
                  <a:lnTo>
                    <a:pt x="5087" y="4862"/>
                  </a:lnTo>
                  <a:lnTo>
                    <a:pt x="5495" y="4985"/>
                  </a:lnTo>
                  <a:lnTo>
                    <a:pt x="6805" y="4917"/>
                  </a:lnTo>
                  <a:lnTo>
                    <a:pt x="6846" y="4708"/>
                  </a:lnTo>
                  <a:lnTo>
                    <a:pt x="6846" y="4546"/>
                  </a:lnTo>
                  <a:lnTo>
                    <a:pt x="6853" y="4451"/>
                  </a:lnTo>
                  <a:lnTo>
                    <a:pt x="6942" y="4273"/>
                  </a:lnTo>
                  <a:lnTo>
                    <a:pt x="6817" y="4043"/>
                  </a:lnTo>
                  <a:lnTo>
                    <a:pt x="7150" y="3248"/>
                  </a:lnTo>
                  <a:lnTo>
                    <a:pt x="7653" y="1982"/>
                  </a:lnTo>
                  <a:lnTo>
                    <a:pt x="7537" y="1887"/>
                  </a:lnTo>
                  <a:lnTo>
                    <a:pt x="7312" y="1737"/>
                  </a:lnTo>
                  <a:lnTo>
                    <a:pt x="7206" y="1737"/>
                  </a:lnTo>
                  <a:lnTo>
                    <a:pt x="6912" y="1697"/>
                  </a:lnTo>
                  <a:lnTo>
                    <a:pt x="6607" y="1242"/>
                  </a:lnTo>
                  <a:lnTo>
                    <a:pt x="6564" y="850"/>
                  </a:lnTo>
                  <a:lnTo>
                    <a:pt x="6160" y="874"/>
                  </a:lnTo>
                  <a:lnTo>
                    <a:pt x="6030" y="950"/>
                  </a:lnTo>
                  <a:lnTo>
                    <a:pt x="6010" y="1044"/>
                  </a:lnTo>
                  <a:lnTo>
                    <a:pt x="5903" y="1127"/>
                  </a:lnTo>
                  <a:lnTo>
                    <a:pt x="5875" y="1289"/>
                  </a:lnTo>
                  <a:lnTo>
                    <a:pt x="5745" y="1365"/>
                  </a:lnTo>
                  <a:lnTo>
                    <a:pt x="5602" y="1262"/>
                  </a:lnTo>
                  <a:lnTo>
                    <a:pt x="5515" y="1223"/>
                  </a:lnTo>
                  <a:lnTo>
                    <a:pt x="5365" y="1310"/>
                  </a:lnTo>
                  <a:lnTo>
                    <a:pt x="5305" y="1566"/>
                  </a:lnTo>
                  <a:lnTo>
                    <a:pt x="5238" y="1614"/>
                  </a:lnTo>
                  <a:lnTo>
                    <a:pt x="4889" y="1329"/>
                  </a:lnTo>
                  <a:lnTo>
                    <a:pt x="4906" y="1310"/>
                  </a:lnTo>
                  <a:lnTo>
                    <a:pt x="4945" y="1281"/>
                  </a:lnTo>
                  <a:lnTo>
                    <a:pt x="4964" y="1159"/>
                  </a:lnTo>
                  <a:lnTo>
                    <a:pt x="4897" y="598"/>
                  </a:lnTo>
                  <a:lnTo>
                    <a:pt x="4660" y="150"/>
                  </a:lnTo>
                  <a:lnTo>
                    <a:pt x="4510" y="0"/>
                  </a:lnTo>
                  <a:lnTo>
                    <a:pt x="4489" y="75"/>
                  </a:lnTo>
                  <a:lnTo>
                    <a:pt x="4204" y="245"/>
                  </a:lnTo>
                  <a:lnTo>
                    <a:pt x="4193" y="332"/>
                  </a:lnTo>
                  <a:lnTo>
                    <a:pt x="4097" y="463"/>
                  </a:lnTo>
                  <a:lnTo>
                    <a:pt x="4034" y="415"/>
                  </a:lnTo>
                  <a:lnTo>
                    <a:pt x="3919" y="511"/>
                  </a:lnTo>
                  <a:lnTo>
                    <a:pt x="3730" y="589"/>
                  </a:lnTo>
                  <a:lnTo>
                    <a:pt x="3710" y="644"/>
                  </a:lnTo>
                  <a:lnTo>
                    <a:pt x="3547" y="815"/>
                  </a:lnTo>
                  <a:lnTo>
                    <a:pt x="3500" y="795"/>
                  </a:lnTo>
                  <a:lnTo>
                    <a:pt x="3512" y="673"/>
                  </a:lnTo>
                  <a:lnTo>
                    <a:pt x="3472" y="664"/>
                  </a:lnTo>
                  <a:lnTo>
                    <a:pt x="3349" y="740"/>
                  </a:lnTo>
                  <a:lnTo>
                    <a:pt x="3227" y="787"/>
                  </a:lnTo>
                  <a:lnTo>
                    <a:pt x="2921" y="589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33" name="Freeform 25">
              <a:extLst>
                <a:ext uri="{FF2B5EF4-FFF2-40B4-BE49-F238E27FC236}">
                  <a16:creationId xmlns:a16="http://schemas.microsoft.com/office/drawing/2014/main" id="{6B5D3527-A018-4945-90E5-7742C8DC5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3729" y="778301"/>
              <a:ext cx="672782" cy="613868"/>
            </a:xfrm>
            <a:custGeom>
              <a:avLst/>
              <a:gdLst/>
              <a:ahLst/>
              <a:cxnLst>
                <a:cxn ang="0">
                  <a:pos x="115" y="910"/>
                </a:cxn>
                <a:cxn ang="0">
                  <a:pos x="0" y="901"/>
                </a:cxn>
                <a:cxn ang="0">
                  <a:pos x="0" y="1024"/>
                </a:cxn>
                <a:cxn ang="0">
                  <a:pos x="28" y="1099"/>
                </a:cxn>
                <a:cxn ang="0">
                  <a:pos x="150" y="1119"/>
                </a:cxn>
                <a:cxn ang="0">
                  <a:pos x="313" y="1234"/>
                </a:cxn>
                <a:cxn ang="0">
                  <a:pos x="542" y="1309"/>
                </a:cxn>
                <a:cxn ang="0">
                  <a:pos x="590" y="1415"/>
                </a:cxn>
                <a:cxn ang="0">
                  <a:pos x="733" y="1586"/>
                </a:cxn>
                <a:cxn ang="0">
                  <a:pos x="721" y="1681"/>
                </a:cxn>
                <a:cxn ang="0">
                  <a:pos x="800" y="1966"/>
                </a:cxn>
                <a:cxn ang="0">
                  <a:pos x="911" y="2021"/>
                </a:cxn>
                <a:cxn ang="0">
                  <a:pos x="950" y="2096"/>
                </a:cxn>
                <a:cxn ang="0">
                  <a:pos x="1064" y="2366"/>
                </a:cxn>
                <a:cxn ang="0">
                  <a:pos x="1303" y="2441"/>
                </a:cxn>
                <a:cxn ang="0">
                  <a:pos x="1385" y="2373"/>
                </a:cxn>
                <a:cxn ang="0">
                  <a:pos x="1433" y="2238"/>
                </a:cxn>
                <a:cxn ang="0">
                  <a:pos x="1472" y="2183"/>
                </a:cxn>
                <a:cxn ang="0">
                  <a:pos x="1595" y="2081"/>
                </a:cxn>
                <a:cxn ang="0">
                  <a:pos x="1588" y="1973"/>
                </a:cxn>
                <a:cxn ang="0">
                  <a:pos x="1832" y="1843"/>
                </a:cxn>
                <a:cxn ang="0">
                  <a:pos x="1967" y="1661"/>
                </a:cxn>
                <a:cxn ang="0">
                  <a:pos x="2177" y="1444"/>
                </a:cxn>
                <a:cxn ang="0">
                  <a:pos x="2185" y="1321"/>
                </a:cxn>
                <a:cxn ang="0">
                  <a:pos x="2129" y="1206"/>
                </a:cxn>
                <a:cxn ang="0">
                  <a:pos x="1919" y="1111"/>
                </a:cxn>
                <a:cxn ang="0">
                  <a:pos x="1853" y="1044"/>
                </a:cxn>
                <a:cxn ang="0">
                  <a:pos x="1825" y="957"/>
                </a:cxn>
                <a:cxn ang="0">
                  <a:pos x="1766" y="826"/>
                </a:cxn>
                <a:cxn ang="0">
                  <a:pos x="1595" y="133"/>
                </a:cxn>
                <a:cxn ang="0">
                  <a:pos x="1445" y="0"/>
                </a:cxn>
                <a:cxn ang="0">
                  <a:pos x="1397" y="94"/>
                </a:cxn>
                <a:cxn ang="0">
                  <a:pos x="1358" y="189"/>
                </a:cxn>
                <a:cxn ang="0">
                  <a:pos x="1228" y="360"/>
                </a:cxn>
                <a:cxn ang="0">
                  <a:pos x="970" y="846"/>
                </a:cxn>
                <a:cxn ang="0">
                  <a:pos x="855" y="957"/>
                </a:cxn>
                <a:cxn ang="0">
                  <a:pos x="733" y="988"/>
                </a:cxn>
                <a:cxn ang="0">
                  <a:pos x="645" y="922"/>
                </a:cxn>
                <a:cxn ang="0">
                  <a:pos x="542" y="941"/>
                </a:cxn>
                <a:cxn ang="0">
                  <a:pos x="447" y="910"/>
                </a:cxn>
                <a:cxn ang="0">
                  <a:pos x="360" y="957"/>
                </a:cxn>
                <a:cxn ang="0">
                  <a:pos x="218" y="988"/>
                </a:cxn>
                <a:cxn ang="0">
                  <a:pos x="115" y="910"/>
                </a:cxn>
              </a:cxnLst>
              <a:rect l="0" t="0" r="r" b="b"/>
              <a:pathLst>
                <a:path w="2185" h="2441">
                  <a:moveTo>
                    <a:pt x="115" y="910"/>
                  </a:moveTo>
                  <a:lnTo>
                    <a:pt x="0" y="901"/>
                  </a:lnTo>
                  <a:lnTo>
                    <a:pt x="0" y="1024"/>
                  </a:lnTo>
                  <a:lnTo>
                    <a:pt x="28" y="1099"/>
                  </a:lnTo>
                  <a:lnTo>
                    <a:pt x="150" y="1119"/>
                  </a:lnTo>
                  <a:lnTo>
                    <a:pt x="313" y="1234"/>
                  </a:lnTo>
                  <a:lnTo>
                    <a:pt x="542" y="1309"/>
                  </a:lnTo>
                  <a:lnTo>
                    <a:pt x="590" y="1415"/>
                  </a:lnTo>
                  <a:lnTo>
                    <a:pt x="733" y="1586"/>
                  </a:lnTo>
                  <a:lnTo>
                    <a:pt x="721" y="1681"/>
                  </a:lnTo>
                  <a:lnTo>
                    <a:pt x="800" y="1966"/>
                  </a:lnTo>
                  <a:lnTo>
                    <a:pt x="911" y="2021"/>
                  </a:lnTo>
                  <a:lnTo>
                    <a:pt x="950" y="2096"/>
                  </a:lnTo>
                  <a:lnTo>
                    <a:pt x="1064" y="2366"/>
                  </a:lnTo>
                  <a:lnTo>
                    <a:pt x="1303" y="2441"/>
                  </a:lnTo>
                  <a:lnTo>
                    <a:pt x="1385" y="2373"/>
                  </a:lnTo>
                  <a:lnTo>
                    <a:pt x="1433" y="2238"/>
                  </a:lnTo>
                  <a:lnTo>
                    <a:pt x="1472" y="2183"/>
                  </a:lnTo>
                  <a:lnTo>
                    <a:pt x="1595" y="2081"/>
                  </a:lnTo>
                  <a:lnTo>
                    <a:pt x="1588" y="1973"/>
                  </a:lnTo>
                  <a:lnTo>
                    <a:pt x="1832" y="1843"/>
                  </a:lnTo>
                  <a:lnTo>
                    <a:pt x="1967" y="1661"/>
                  </a:lnTo>
                  <a:lnTo>
                    <a:pt x="2177" y="1444"/>
                  </a:lnTo>
                  <a:lnTo>
                    <a:pt x="2185" y="1321"/>
                  </a:lnTo>
                  <a:lnTo>
                    <a:pt x="2129" y="1206"/>
                  </a:lnTo>
                  <a:lnTo>
                    <a:pt x="1919" y="1111"/>
                  </a:lnTo>
                  <a:lnTo>
                    <a:pt x="1853" y="1044"/>
                  </a:lnTo>
                  <a:lnTo>
                    <a:pt x="1825" y="957"/>
                  </a:lnTo>
                  <a:lnTo>
                    <a:pt x="1766" y="826"/>
                  </a:lnTo>
                  <a:lnTo>
                    <a:pt x="1595" y="133"/>
                  </a:lnTo>
                  <a:lnTo>
                    <a:pt x="1445" y="0"/>
                  </a:lnTo>
                  <a:lnTo>
                    <a:pt x="1397" y="94"/>
                  </a:lnTo>
                  <a:lnTo>
                    <a:pt x="1358" y="189"/>
                  </a:lnTo>
                  <a:lnTo>
                    <a:pt x="1228" y="360"/>
                  </a:lnTo>
                  <a:lnTo>
                    <a:pt x="970" y="846"/>
                  </a:lnTo>
                  <a:lnTo>
                    <a:pt x="855" y="957"/>
                  </a:lnTo>
                  <a:lnTo>
                    <a:pt x="733" y="988"/>
                  </a:lnTo>
                  <a:lnTo>
                    <a:pt x="645" y="922"/>
                  </a:lnTo>
                  <a:lnTo>
                    <a:pt x="542" y="941"/>
                  </a:lnTo>
                  <a:lnTo>
                    <a:pt x="447" y="910"/>
                  </a:lnTo>
                  <a:lnTo>
                    <a:pt x="360" y="957"/>
                  </a:lnTo>
                  <a:lnTo>
                    <a:pt x="218" y="988"/>
                  </a:lnTo>
                  <a:lnTo>
                    <a:pt x="115" y="91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34" name="Freeform 26">
              <a:extLst>
                <a:ext uri="{FF2B5EF4-FFF2-40B4-BE49-F238E27FC236}">
                  <a16:creationId xmlns:a16="http://schemas.microsoft.com/office/drawing/2014/main" id="{185B56F1-A4C4-459C-9EAA-D513421B5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61885" y="2318761"/>
              <a:ext cx="403102" cy="183002"/>
            </a:xfrm>
            <a:custGeom>
              <a:avLst/>
              <a:gdLst/>
              <a:ahLst/>
              <a:cxnLst>
                <a:cxn ang="0">
                  <a:pos x="1303" y="75"/>
                </a:cxn>
                <a:cxn ang="0">
                  <a:pos x="943" y="55"/>
                </a:cxn>
                <a:cxn ang="0">
                  <a:pos x="800" y="169"/>
                </a:cxn>
                <a:cxn ang="0">
                  <a:pos x="488" y="197"/>
                </a:cxn>
                <a:cxn ang="0">
                  <a:pos x="413" y="142"/>
                </a:cxn>
                <a:cxn ang="0">
                  <a:pos x="191" y="0"/>
                </a:cxn>
                <a:cxn ang="0">
                  <a:pos x="0" y="142"/>
                </a:cxn>
                <a:cxn ang="0">
                  <a:pos x="68" y="256"/>
                </a:cxn>
                <a:cxn ang="0">
                  <a:pos x="555" y="549"/>
                </a:cxn>
                <a:cxn ang="0">
                  <a:pos x="740" y="735"/>
                </a:cxn>
                <a:cxn ang="0">
                  <a:pos x="740" y="735"/>
                </a:cxn>
                <a:cxn ang="0">
                  <a:pos x="1236" y="256"/>
                </a:cxn>
                <a:cxn ang="0">
                  <a:pos x="1303" y="75"/>
                </a:cxn>
              </a:cxnLst>
              <a:rect l="0" t="0" r="r" b="b"/>
              <a:pathLst>
                <a:path w="1303" h="735">
                  <a:moveTo>
                    <a:pt x="1303" y="75"/>
                  </a:moveTo>
                  <a:lnTo>
                    <a:pt x="943" y="55"/>
                  </a:lnTo>
                  <a:lnTo>
                    <a:pt x="800" y="169"/>
                  </a:lnTo>
                  <a:lnTo>
                    <a:pt x="488" y="197"/>
                  </a:lnTo>
                  <a:lnTo>
                    <a:pt x="413" y="142"/>
                  </a:lnTo>
                  <a:lnTo>
                    <a:pt x="191" y="0"/>
                  </a:lnTo>
                  <a:lnTo>
                    <a:pt x="0" y="142"/>
                  </a:lnTo>
                  <a:lnTo>
                    <a:pt x="68" y="256"/>
                  </a:lnTo>
                  <a:lnTo>
                    <a:pt x="555" y="549"/>
                  </a:lnTo>
                  <a:lnTo>
                    <a:pt x="740" y="735"/>
                  </a:lnTo>
                  <a:lnTo>
                    <a:pt x="740" y="735"/>
                  </a:lnTo>
                  <a:lnTo>
                    <a:pt x="1236" y="256"/>
                  </a:lnTo>
                  <a:lnTo>
                    <a:pt x="1303" y="75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35" name="Freeform 27">
              <a:extLst>
                <a:ext uri="{FF2B5EF4-FFF2-40B4-BE49-F238E27FC236}">
                  <a16:creationId xmlns:a16="http://schemas.microsoft.com/office/drawing/2014/main" id="{5C76BAA8-DD3D-42B1-A7C3-3B5F68AF7D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2271" y="1992137"/>
              <a:ext cx="522329" cy="254812"/>
            </a:xfrm>
            <a:custGeom>
              <a:avLst/>
              <a:gdLst/>
              <a:ahLst/>
              <a:cxnLst>
                <a:cxn ang="0">
                  <a:pos x="1627" y="271"/>
                </a:cxn>
                <a:cxn ang="0">
                  <a:pos x="1418" y="258"/>
                </a:cxn>
                <a:cxn ang="0">
                  <a:pos x="1208" y="258"/>
                </a:cxn>
                <a:cxn ang="0">
                  <a:pos x="1053" y="163"/>
                </a:cxn>
                <a:cxn ang="0">
                  <a:pos x="990" y="210"/>
                </a:cxn>
                <a:cxn ang="0">
                  <a:pos x="943" y="408"/>
                </a:cxn>
                <a:cxn ang="0">
                  <a:pos x="884" y="427"/>
                </a:cxn>
                <a:cxn ang="0">
                  <a:pos x="828" y="352"/>
                </a:cxn>
                <a:cxn ang="0">
                  <a:pos x="674" y="345"/>
                </a:cxn>
                <a:cxn ang="0">
                  <a:pos x="579" y="297"/>
                </a:cxn>
                <a:cxn ang="0">
                  <a:pos x="579" y="229"/>
                </a:cxn>
                <a:cxn ang="0">
                  <a:pos x="674" y="67"/>
                </a:cxn>
                <a:cxn ang="0">
                  <a:pos x="674" y="12"/>
                </a:cxn>
                <a:cxn ang="0">
                  <a:pos x="645" y="0"/>
                </a:cxn>
                <a:cxn ang="0">
                  <a:pos x="420" y="76"/>
                </a:cxn>
                <a:cxn ang="0">
                  <a:pos x="294" y="190"/>
                </a:cxn>
                <a:cxn ang="0">
                  <a:pos x="87" y="147"/>
                </a:cxn>
                <a:cxn ang="0">
                  <a:pos x="0" y="408"/>
                </a:cxn>
                <a:cxn ang="0">
                  <a:pos x="87" y="562"/>
                </a:cxn>
                <a:cxn ang="0">
                  <a:pos x="0" y="693"/>
                </a:cxn>
                <a:cxn ang="0">
                  <a:pos x="56" y="752"/>
                </a:cxn>
                <a:cxn ang="0">
                  <a:pos x="143" y="740"/>
                </a:cxn>
                <a:cxn ang="0">
                  <a:pos x="210" y="799"/>
                </a:cxn>
                <a:cxn ang="0">
                  <a:pos x="372" y="733"/>
                </a:cxn>
                <a:cxn ang="0">
                  <a:pos x="626" y="550"/>
                </a:cxn>
                <a:cxn ang="0">
                  <a:pos x="741" y="590"/>
                </a:cxn>
                <a:cxn ang="0">
                  <a:pos x="780" y="630"/>
                </a:cxn>
                <a:cxn ang="0">
                  <a:pos x="618" y="855"/>
                </a:cxn>
                <a:cxn ang="0">
                  <a:pos x="705" y="962"/>
                </a:cxn>
                <a:cxn ang="0">
                  <a:pos x="722" y="1018"/>
                </a:cxn>
                <a:cxn ang="0">
                  <a:pos x="828" y="1018"/>
                </a:cxn>
                <a:cxn ang="0">
                  <a:pos x="943" y="895"/>
                </a:cxn>
                <a:cxn ang="0">
                  <a:pos x="1358" y="788"/>
                </a:cxn>
                <a:cxn ang="0">
                  <a:pos x="1481" y="677"/>
                </a:cxn>
                <a:cxn ang="0">
                  <a:pos x="1703" y="610"/>
                </a:cxn>
                <a:cxn ang="0">
                  <a:pos x="1627" y="271"/>
                </a:cxn>
              </a:cxnLst>
              <a:rect l="0" t="0" r="r" b="b"/>
              <a:pathLst>
                <a:path w="1703" h="1018">
                  <a:moveTo>
                    <a:pt x="1627" y="271"/>
                  </a:moveTo>
                  <a:lnTo>
                    <a:pt x="1418" y="258"/>
                  </a:lnTo>
                  <a:lnTo>
                    <a:pt x="1208" y="258"/>
                  </a:lnTo>
                  <a:lnTo>
                    <a:pt x="1053" y="163"/>
                  </a:lnTo>
                  <a:lnTo>
                    <a:pt x="990" y="210"/>
                  </a:lnTo>
                  <a:lnTo>
                    <a:pt x="943" y="408"/>
                  </a:lnTo>
                  <a:lnTo>
                    <a:pt x="884" y="427"/>
                  </a:lnTo>
                  <a:lnTo>
                    <a:pt x="828" y="352"/>
                  </a:lnTo>
                  <a:lnTo>
                    <a:pt x="674" y="345"/>
                  </a:lnTo>
                  <a:lnTo>
                    <a:pt x="579" y="297"/>
                  </a:lnTo>
                  <a:lnTo>
                    <a:pt x="579" y="229"/>
                  </a:lnTo>
                  <a:lnTo>
                    <a:pt x="674" y="67"/>
                  </a:lnTo>
                  <a:lnTo>
                    <a:pt x="674" y="12"/>
                  </a:lnTo>
                  <a:lnTo>
                    <a:pt x="645" y="0"/>
                  </a:lnTo>
                  <a:lnTo>
                    <a:pt x="420" y="76"/>
                  </a:lnTo>
                  <a:lnTo>
                    <a:pt x="294" y="190"/>
                  </a:lnTo>
                  <a:lnTo>
                    <a:pt x="87" y="147"/>
                  </a:lnTo>
                  <a:lnTo>
                    <a:pt x="0" y="408"/>
                  </a:lnTo>
                  <a:lnTo>
                    <a:pt x="87" y="562"/>
                  </a:lnTo>
                  <a:lnTo>
                    <a:pt x="0" y="693"/>
                  </a:lnTo>
                  <a:lnTo>
                    <a:pt x="56" y="752"/>
                  </a:lnTo>
                  <a:lnTo>
                    <a:pt x="143" y="740"/>
                  </a:lnTo>
                  <a:lnTo>
                    <a:pt x="210" y="799"/>
                  </a:lnTo>
                  <a:lnTo>
                    <a:pt x="372" y="733"/>
                  </a:lnTo>
                  <a:lnTo>
                    <a:pt x="626" y="550"/>
                  </a:lnTo>
                  <a:lnTo>
                    <a:pt x="741" y="590"/>
                  </a:lnTo>
                  <a:lnTo>
                    <a:pt x="780" y="630"/>
                  </a:lnTo>
                  <a:lnTo>
                    <a:pt x="618" y="855"/>
                  </a:lnTo>
                  <a:lnTo>
                    <a:pt x="705" y="962"/>
                  </a:lnTo>
                  <a:lnTo>
                    <a:pt x="722" y="1018"/>
                  </a:lnTo>
                  <a:lnTo>
                    <a:pt x="828" y="1018"/>
                  </a:lnTo>
                  <a:lnTo>
                    <a:pt x="943" y="895"/>
                  </a:lnTo>
                  <a:lnTo>
                    <a:pt x="1358" y="788"/>
                  </a:lnTo>
                  <a:lnTo>
                    <a:pt x="1481" y="677"/>
                  </a:lnTo>
                  <a:lnTo>
                    <a:pt x="1703" y="610"/>
                  </a:lnTo>
                  <a:lnTo>
                    <a:pt x="1627" y="271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DD3885C1-1FFA-4FBB-9813-EA7E41FD145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7427" y="1616867"/>
              <a:ext cx="545039" cy="572171"/>
            </a:xfrm>
            <a:custGeom>
              <a:avLst/>
              <a:gdLst/>
              <a:ahLst/>
              <a:cxnLst>
                <a:cxn ang="0">
                  <a:pos x="1766" y="932"/>
                </a:cxn>
                <a:cxn ang="0">
                  <a:pos x="1691" y="886"/>
                </a:cxn>
                <a:cxn ang="0">
                  <a:pos x="1481" y="648"/>
                </a:cxn>
                <a:cxn ang="0">
                  <a:pos x="884" y="174"/>
                </a:cxn>
                <a:cxn ang="0">
                  <a:pos x="495" y="0"/>
                </a:cxn>
                <a:cxn ang="0">
                  <a:pos x="40" y="39"/>
                </a:cxn>
                <a:cxn ang="0">
                  <a:pos x="0" y="162"/>
                </a:cxn>
                <a:cxn ang="0">
                  <a:pos x="40" y="221"/>
                </a:cxn>
                <a:cxn ang="0">
                  <a:pos x="9" y="269"/>
                </a:cxn>
                <a:cxn ang="0">
                  <a:pos x="123" y="590"/>
                </a:cxn>
                <a:cxn ang="0">
                  <a:pos x="68" y="744"/>
                </a:cxn>
                <a:cxn ang="0">
                  <a:pos x="87" y="839"/>
                </a:cxn>
                <a:cxn ang="0">
                  <a:pos x="123" y="1104"/>
                </a:cxn>
                <a:cxn ang="0">
                  <a:pos x="230" y="1587"/>
                </a:cxn>
                <a:cxn ang="0">
                  <a:pos x="381" y="1796"/>
                </a:cxn>
                <a:cxn ang="0">
                  <a:pos x="296" y="2025"/>
                </a:cxn>
                <a:cxn ang="0">
                  <a:pos x="780" y="2073"/>
                </a:cxn>
                <a:cxn ang="0">
                  <a:pos x="990" y="2279"/>
                </a:cxn>
                <a:cxn ang="0">
                  <a:pos x="1140" y="2184"/>
                </a:cxn>
                <a:cxn ang="0">
                  <a:pos x="1227" y="2053"/>
                </a:cxn>
                <a:cxn ang="0">
                  <a:pos x="1140" y="1899"/>
                </a:cxn>
                <a:cxn ang="0">
                  <a:pos x="1227" y="1638"/>
                </a:cxn>
                <a:cxn ang="0">
                  <a:pos x="1275" y="1491"/>
                </a:cxn>
                <a:cxn ang="0">
                  <a:pos x="1350" y="1491"/>
                </a:cxn>
                <a:cxn ang="0">
                  <a:pos x="1560" y="1151"/>
                </a:cxn>
                <a:cxn ang="0">
                  <a:pos x="1766" y="933"/>
                </a:cxn>
                <a:cxn ang="0">
                  <a:pos x="1766" y="932"/>
                </a:cxn>
              </a:cxnLst>
              <a:rect l="0" t="0" r="r" b="b"/>
              <a:pathLst>
                <a:path w="1766" h="2279">
                  <a:moveTo>
                    <a:pt x="1766" y="932"/>
                  </a:moveTo>
                  <a:lnTo>
                    <a:pt x="1691" y="886"/>
                  </a:lnTo>
                  <a:lnTo>
                    <a:pt x="1481" y="648"/>
                  </a:lnTo>
                  <a:lnTo>
                    <a:pt x="884" y="174"/>
                  </a:lnTo>
                  <a:lnTo>
                    <a:pt x="495" y="0"/>
                  </a:lnTo>
                  <a:lnTo>
                    <a:pt x="40" y="39"/>
                  </a:lnTo>
                  <a:lnTo>
                    <a:pt x="0" y="162"/>
                  </a:lnTo>
                  <a:lnTo>
                    <a:pt x="40" y="221"/>
                  </a:lnTo>
                  <a:lnTo>
                    <a:pt x="9" y="269"/>
                  </a:lnTo>
                  <a:lnTo>
                    <a:pt x="123" y="590"/>
                  </a:lnTo>
                  <a:lnTo>
                    <a:pt x="68" y="744"/>
                  </a:lnTo>
                  <a:lnTo>
                    <a:pt x="87" y="839"/>
                  </a:lnTo>
                  <a:lnTo>
                    <a:pt x="123" y="1104"/>
                  </a:lnTo>
                  <a:lnTo>
                    <a:pt x="230" y="1587"/>
                  </a:lnTo>
                  <a:lnTo>
                    <a:pt x="381" y="1796"/>
                  </a:lnTo>
                  <a:lnTo>
                    <a:pt x="296" y="2025"/>
                  </a:lnTo>
                  <a:lnTo>
                    <a:pt x="780" y="2073"/>
                  </a:lnTo>
                  <a:lnTo>
                    <a:pt x="990" y="2279"/>
                  </a:lnTo>
                  <a:lnTo>
                    <a:pt x="1140" y="2184"/>
                  </a:lnTo>
                  <a:lnTo>
                    <a:pt x="1227" y="2053"/>
                  </a:lnTo>
                  <a:lnTo>
                    <a:pt x="1140" y="1899"/>
                  </a:lnTo>
                  <a:lnTo>
                    <a:pt x="1227" y="1638"/>
                  </a:lnTo>
                  <a:lnTo>
                    <a:pt x="1275" y="1491"/>
                  </a:lnTo>
                  <a:lnTo>
                    <a:pt x="1350" y="1491"/>
                  </a:lnTo>
                  <a:lnTo>
                    <a:pt x="1560" y="1151"/>
                  </a:lnTo>
                  <a:lnTo>
                    <a:pt x="1766" y="933"/>
                  </a:lnTo>
                  <a:lnTo>
                    <a:pt x="1766" y="93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37" name="Freeform 29">
              <a:extLst>
                <a:ext uri="{FF2B5EF4-FFF2-40B4-BE49-F238E27FC236}">
                  <a16:creationId xmlns:a16="http://schemas.microsoft.com/office/drawing/2014/main" id="{A0C77376-C256-4157-9834-A9D9BA4A6C77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7148" y="4197427"/>
              <a:ext cx="658589" cy="375270"/>
            </a:xfrm>
            <a:custGeom>
              <a:avLst/>
              <a:gdLst/>
              <a:ahLst/>
              <a:cxnLst>
                <a:cxn ang="0">
                  <a:pos x="0" y="514"/>
                </a:cxn>
                <a:cxn ang="0">
                  <a:pos x="47" y="364"/>
                </a:cxn>
                <a:cxn ang="0">
                  <a:pos x="53" y="115"/>
                </a:cxn>
                <a:cxn ang="0">
                  <a:pos x="212" y="127"/>
                </a:cxn>
                <a:cxn ang="0">
                  <a:pos x="497" y="162"/>
                </a:cxn>
                <a:cxn ang="0">
                  <a:pos x="685" y="229"/>
                </a:cxn>
                <a:cxn ang="0">
                  <a:pos x="950" y="296"/>
                </a:cxn>
                <a:cxn ang="0">
                  <a:pos x="1018" y="257"/>
                </a:cxn>
                <a:cxn ang="0">
                  <a:pos x="1018" y="182"/>
                </a:cxn>
                <a:cxn ang="0">
                  <a:pos x="1054" y="127"/>
                </a:cxn>
                <a:cxn ang="0">
                  <a:pos x="1216" y="106"/>
                </a:cxn>
                <a:cxn ang="0">
                  <a:pos x="1310" y="11"/>
                </a:cxn>
                <a:cxn ang="0">
                  <a:pos x="1406" y="31"/>
                </a:cxn>
                <a:cxn ang="0">
                  <a:pos x="1528" y="0"/>
                </a:cxn>
                <a:cxn ang="0">
                  <a:pos x="1643" y="39"/>
                </a:cxn>
                <a:cxn ang="0">
                  <a:pos x="1730" y="94"/>
                </a:cxn>
                <a:cxn ang="0">
                  <a:pos x="1996" y="11"/>
                </a:cxn>
                <a:cxn ang="0">
                  <a:pos x="2129" y="35"/>
                </a:cxn>
                <a:cxn ang="0">
                  <a:pos x="2127" y="35"/>
                </a:cxn>
                <a:cxn ang="0">
                  <a:pos x="2110" y="94"/>
                </a:cxn>
                <a:cxn ang="0">
                  <a:pos x="2043" y="173"/>
                </a:cxn>
                <a:cxn ang="0">
                  <a:pos x="2078" y="284"/>
                </a:cxn>
                <a:cxn ang="0">
                  <a:pos x="2078" y="458"/>
                </a:cxn>
                <a:cxn ang="0">
                  <a:pos x="2078" y="649"/>
                </a:cxn>
                <a:cxn ang="0">
                  <a:pos x="2043" y="791"/>
                </a:cxn>
                <a:cxn ang="0">
                  <a:pos x="2023" y="1091"/>
                </a:cxn>
                <a:cxn ang="0">
                  <a:pos x="1968" y="1159"/>
                </a:cxn>
                <a:cxn ang="0">
                  <a:pos x="1968" y="1206"/>
                </a:cxn>
                <a:cxn ang="0">
                  <a:pos x="1624" y="1491"/>
                </a:cxn>
                <a:cxn ang="0">
                  <a:pos x="1556" y="1455"/>
                </a:cxn>
                <a:cxn ang="0">
                  <a:pos x="1472" y="1491"/>
                </a:cxn>
                <a:cxn ang="0">
                  <a:pos x="1433" y="1455"/>
                </a:cxn>
                <a:cxn ang="0">
                  <a:pos x="1520" y="1368"/>
                </a:cxn>
                <a:cxn ang="0">
                  <a:pos x="1528" y="1313"/>
                </a:cxn>
                <a:cxn ang="0">
                  <a:pos x="1624" y="1187"/>
                </a:cxn>
                <a:cxn ang="0">
                  <a:pos x="1615" y="1139"/>
                </a:cxn>
                <a:cxn ang="0">
                  <a:pos x="1366" y="1112"/>
                </a:cxn>
                <a:cxn ang="0">
                  <a:pos x="1216" y="969"/>
                </a:cxn>
                <a:cxn ang="0">
                  <a:pos x="1006" y="760"/>
                </a:cxn>
                <a:cxn ang="0">
                  <a:pos x="760" y="617"/>
                </a:cxn>
                <a:cxn ang="0">
                  <a:pos x="673" y="589"/>
                </a:cxn>
                <a:cxn ang="0">
                  <a:pos x="115" y="506"/>
                </a:cxn>
                <a:cxn ang="0">
                  <a:pos x="0" y="514"/>
                </a:cxn>
              </a:cxnLst>
              <a:rect l="0" t="0" r="r" b="b"/>
              <a:pathLst>
                <a:path w="2129" h="1491">
                  <a:moveTo>
                    <a:pt x="0" y="514"/>
                  </a:moveTo>
                  <a:lnTo>
                    <a:pt x="47" y="364"/>
                  </a:lnTo>
                  <a:lnTo>
                    <a:pt x="53" y="115"/>
                  </a:lnTo>
                  <a:lnTo>
                    <a:pt x="212" y="127"/>
                  </a:lnTo>
                  <a:lnTo>
                    <a:pt x="497" y="162"/>
                  </a:lnTo>
                  <a:lnTo>
                    <a:pt x="685" y="229"/>
                  </a:lnTo>
                  <a:lnTo>
                    <a:pt x="950" y="296"/>
                  </a:lnTo>
                  <a:lnTo>
                    <a:pt x="1018" y="257"/>
                  </a:lnTo>
                  <a:lnTo>
                    <a:pt x="1018" y="182"/>
                  </a:lnTo>
                  <a:lnTo>
                    <a:pt x="1054" y="127"/>
                  </a:lnTo>
                  <a:lnTo>
                    <a:pt x="1216" y="106"/>
                  </a:lnTo>
                  <a:lnTo>
                    <a:pt x="1310" y="11"/>
                  </a:lnTo>
                  <a:lnTo>
                    <a:pt x="1406" y="31"/>
                  </a:lnTo>
                  <a:lnTo>
                    <a:pt x="1528" y="0"/>
                  </a:lnTo>
                  <a:lnTo>
                    <a:pt x="1643" y="39"/>
                  </a:lnTo>
                  <a:lnTo>
                    <a:pt x="1730" y="94"/>
                  </a:lnTo>
                  <a:lnTo>
                    <a:pt x="1996" y="11"/>
                  </a:lnTo>
                  <a:lnTo>
                    <a:pt x="2129" y="35"/>
                  </a:lnTo>
                  <a:lnTo>
                    <a:pt x="2127" y="35"/>
                  </a:lnTo>
                  <a:lnTo>
                    <a:pt x="2110" y="94"/>
                  </a:lnTo>
                  <a:lnTo>
                    <a:pt x="2043" y="173"/>
                  </a:lnTo>
                  <a:lnTo>
                    <a:pt x="2078" y="284"/>
                  </a:lnTo>
                  <a:lnTo>
                    <a:pt x="2078" y="458"/>
                  </a:lnTo>
                  <a:lnTo>
                    <a:pt x="2078" y="649"/>
                  </a:lnTo>
                  <a:lnTo>
                    <a:pt x="2043" y="791"/>
                  </a:lnTo>
                  <a:lnTo>
                    <a:pt x="2023" y="1091"/>
                  </a:lnTo>
                  <a:lnTo>
                    <a:pt x="1968" y="1159"/>
                  </a:lnTo>
                  <a:lnTo>
                    <a:pt x="1968" y="1206"/>
                  </a:lnTo>
                  <a:lnTo>
                    <a:pt x="1624" y="1491"/>
                  </a:lnTo>
                  <a:lnTo>
                    <a:pt x="1556" y="1455"/>
                  </a:lnTo>
                  <a:lnTo>
                    <a:pt x="1472" y="1491"/>
                  </a:lnTo>
                  <a:lnTo>
                    <a:pt x="1433" y="1455"/>
                  </a:lnTo>
                  <a:lnTo>
                    <a:pt x="1520" y="1368"/>
                  </a:lnTo>
                  <a:lnTo>
                    <a:pt x="1528" y="1313"/>
                  </a:lnTo>
                  <a:lnTo>
                    <a:pt x="1624" y="1187"/>
                  </a:lnTo>
                  <a:lnTo>
                    <a:pt x="1615" y="1139"/>
                  </a:lnTo>
                  <a:lnTo>
                    <a:pt x="1366" y="1112"/>
                  </a:lnTo>
                  <a:lnTo>
                    <a:pt x="1216" y="969"/>
                  </a:lnTo>
                  <a:lnTo>
                    <a:pt x="1006" y="760"/>
                  </a:lnTo>
                  <a:lnTo>
                    <a:pt x="760" y="617"/>
                  </a:lnTo>
                  <a:lnTo>
                    <a:pt x="673" y="589"/>
                  </a:lnTo>
                  <a:lnTo>
                    <a:pt x="115" y="506"/>
                  </a:lnTo>
                  <a:lnTo>
                    <a:pt x="0" y="51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38" name="Freeform 30">
              <a:extLst>
                <a:ext uri="{FF2B5EF4-FFF2-40B4-BE49-F238E27FC236}">
                  <a16:creationId xmlns:a16="http://schemas.microsoft.com/office/drawing/2014/main" id="{1403DE18-8C0A-4DC8-BB49-AF4121A7A350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8420" y="699542"/>
              <a:ext cx="823236" cy="729691"/>
            </a:xfrm>
            <a:custGeom>
              <a:avLst/>
              <a:gdLst/>
              <a:ahLst/>
              <a:cxnLst>
                <a:cxn ang="0">
                  <a:pos x="1873" y="27"/>
                </a:cxn>
                <a:cxn ang="0">
                  <a:pos x="2062" y="0"/>
                </a:cxn>
                <a:cxn ang="0">
                  <a:pos x="2137" y="94"/>
                </a:cxn>
                <a:cxn ang="0">
                  <a:pos x="2116" y="282"/>
                </a:cxn>
                <a:cxn ang="0">
                  <a:pos x="2196" y="338"/>
                </a:cxn>
                <a:cxn ang="0">
                  <a:pos x="2251" y="357"/>
                </a:cxn>
                <a:cxn ang="0">
                  <a:pos x="2306" y="527"/>
                </a:cxn>
                <a:cxn ang="0">
                  <a:pos x="2337" y="614"/>
                </a:cxn>
                <a:cxn ang="0">
                  <a:pos x="2196" y="763"/>
                </a:cxn>
                <a:cxn ang="0">
                  <a:pos x="2204" y="917"/>
                </a:cxn>
                <a:cxn ang="0">
                  <a:pos x="2157" y="1153"/>
                </a:cxn>
                <a:cxn ang="0">
                  <a:pos x="2164" y="1236"/>
                </a:cxn>
                <a:cxn ang="0">
                  <a:pos x="2259" y="1295"/>
                </a:cxn>
                <a:cxn ang="0">
                  <a:pos x="2271" y="1472"/>
                </a:cxn>
                <a:cxn ang="0">
                  <a:pos x="2543" y="1693"/>
                </a:cxn>
                <a:cxn ang="0">
                  <a:pos x="2638" y="1756"/>
                </a:cxn>
                <a:cxn ang="0">
                  <a:pos x="2680" y="2142"/>
                </a:cxn>
                <a:cxn ang="0">
                  <a:pos x="2279" y="2165"/>
                </a:cxn>
                <a:cxn ang="0">
                  <a:pos x="2148" y="2241"/>
                </a:cxn>
                <a:cxn ang="0">
                  <a:pos x="2128" y="2335"/>
                </a:cxn>
                <a:cxn ang="0">
                  <a:pos x="2023" y="2418"/>
                </a:cxn>
                <a:cxn ang="0">
                  <a:pos x="1995" y="2579"/>
                </a:cxn>
                <a:cxn ang="0">
                  <a:pos x="1865" y="2654"/>
                </a:cxn>
                <a:cxn ang="0">
                  <a:pos x="1723" y="2551"/>
                </a:cxn>
                <a:cxn ang="0">
                  <a:pos x="1637" y="2512"/>
                </a:cxn>
                <a:cxn ang="0">
                  <a:pos x="1487" y="2599"/>
                </a:cxn>
                <a:cxn ang="0">
                  <a:pos x="1428" y="2855"/>
                </a:cxn>
                <a:cxn ang="0">
                  <a:pos x="1360" y="2902"/>
                </a:cxn>
                <a:cxn ang="0">
                  <a:pos x="1013" y="2619"/>
                </a:cxn>
                <a:cxn ang="0">
                  <a:pos x="1030" y="2599"/>
                </a:cxn>
                <a:cxn ang="0">
                  <a:pos x="1069" y="2571"/>
                </a:cxn>
                <a:cxn ang="0">
                  <a:pos x="1088" y="2449"/>
                </a:cxn>
                <a:cxn ang="0">
                  <a:pos x="1021" y="1889"/>
                </a:cxn>
                <a:cxn ang="0">
                  <a:pos x="785" y="1445"/>
                </a:cxn>
                <a:cxn ang="0">
                  <a:pos x="635" y="1295"/>
                </a:cxn>
                <a:cxn ang="0">
                  <a:pos x="359" y="1267"/>
                </a:cxn>
                <a:cxn ang="0">
                  <a:pos x="320" y="1153"/>
                </a:cxn>
                <a:cxn ang="0">
                  <a:pos x="272" y="992"/>
                </a:cxn>
                <a:cxn ang="0">
                  <a:pos x="226" y="898"/>
                </a:cxn>
                <a:cxn ang="0">
                  <a:pos x="238" y="794"/>
                </a:cxn>
                <a:cxn ang="0">
                  <a:pos x="20" y="566"/>
                </a:cxn>
                <a:cxn ang="0">
                  <a:pos x="0" y="527"/>
                </a:cxn>
                <a:cxn ang="0">
                  <a:pos x="56" y="512"/>
                </a:cxn>
                <a:cxn ang="0">
                  <a:pos x="95" y="539"/>
                </a:cxn>
                <a:cxn ang="0">
                  <a:pos x="257" y="539"/>
                </a:cxn>
                <a:cxn ang="0">
                  <a:pos x="331" y="633"/>
                </a:cxn>
                <a:cxn ang="0">
                  <a:pos x="549" y="641"/>
                </a:cxn>
                <a:cxn ang="0">
                  <a:pos x="615" y="594"/>
                </a:cxn>
                <a:cxn ang="0">
                  <a:pos x="833" y="755"/>
                </a:cxn>
                <a:cxn ang="0">
                  <a:pos x="899" y="708"/>
                </a:cxn>
                <a:cxn ang="0">
                  <a:pos x="887" y="586"/>
                </a:cxn>
                <a:cxn ang="0">
                  <a:pos x="1030" y="519"/>
                </a:cxn>
                <a:cxn ang="0">
                  <a:pos x="1076" y="471"/>
                </a:cxn>
                <a:cxn ang="0">
                  <a:pos x="1219" y="512"/>
                </a:cxn>
                <a:cxn ang="0">
                  <a:pos x="1392" y="464"/>
                </a:cxn>
                <a:cxn ang="0">
                  <a:pos x="1467" y="398"/>
                </a:cxn>
                <a:cxn ang="0">
                  <a:pos x="1589" y="330"/>
                </a:cxn>
                <a:cxn ang="0">
                  <a:pos x="1644" y="338"/>
                </a:cxn>
                <a:cxn ang="0">
                  <a:pos x="1892" y="114"/>
                </a:cxn>
                <a:cxn ang="0">
                  <a:pos x="1873" y="27"/>
                </a:cxn>
                <a:cxn ang="0">
                  <a:pos x="1873" y="27"/>
                </a:cxn>
              </a:cxnLst>
              <a:rect l="0" t="0" r="r" b="b"/>
              <a:pathLst>
                <a:path w="2680" h="2902">
                  <a:moveTo>
                    <a:pt x="1873" y="27"/>
                  </a:moveTo>
                  <a:lnTo>
                    <a:pt x="2062" y="0"/>
                  </a:lnTo>
                  <a:lnTo>
                    <a:pt x="2137" y="94"/>
                  </a:lnTo>
                  <a:lnTo>
                    <a:pt x="2116" y="282"/>
                  </a:lnTo>
                  <a:lnTo>
                    <a:pt x="2196" y="338"/>
                  </a:lnTo>
                  <a:lnTo>
                    <a:pt x="2251" y="357"/>
                  </a:lnTo>
                  <a:lnTo>
                    <a:pt x="2306" y="527"/>
                  </a:lnTo>
                  <a:lnTo>
                    <a:pt x="2337" y="614"/>
                  </a:lnTo>
                  <a:lnTo>
                    <a:pt x="2196" y="763"/>
                  </a:lnTo>
                  <a:lnTo>
                    <a:pt x="2204" y="917"/>
                  </a:lnTo>
                  <a:lnTo>
                    <a:pt x="2157" y="1153"/>
                  </a:lnTo>
                  <a:lnTo>
                    <a:pt x="2164" y="1236"/>
                  </a:lnTo>
                  <a:lnTo>
                    <a:pt x="2259" y="1295"/>
                  </a:lnTo>
                  <a:lnTo>
                    <a:pt x="2271" y="1472"/>
                  </a:lnTo>
                  <a:lnTo>
                    <a:pt x="2543" y="1693"/>
                  </a:lnTo>
                  <a:lnTo>
                    <a:pt x="2638" y="1756"/>
                  </a:lnTo>
                  <a:lnTo>
                    <a:pt x="2680" y="2142"/>
                  </a:lnTo>
                  <a:lnTo>
                    <a:pt x="2279" y="2165"/>
                  </a:lnTo>
                  <a:lnTo>
                    <a:pt x="2148" y="2241"/>
                  </a:lnTo>
                  <a:lnTo>
                    <a:pt x="2128" y="2335"/>
                  </a:lnTo>
                  <a:lnTo>
                    <a:pt x="2023" y="2418"/>
                  </a:lnTo>
                  <a:lnTo>
                    <a:pt x="1995" y="2579"/>
                  </a:lnTo>
                  <a:lnTo>
                    <a:pt x="1865" y="2654"/>
                  </a:lnTo>
                  <a:lnTo>
                    <a:pt x="1723" y="2551"/>
                  </a:lnTo>
                  <a:lnTo>
                    <a:pt x="1637" y="2512"/>
                  </a:lnTo>
                  <a:lnTo>
                    <a:pt x="1487" y="2599"/>
                  </a:lnTo>
                  <a:lnTo>
                    <a:pt x="1428" y="2855"/>
                  </a:lnTo>
                  <a:lnTo>
                    <a:pt x="1360" y="2902"/>
                  </a:lnTo>
                  <a:lnTo>
                    <a:pt x="1013" y="2619"/>
                  </a:lnTo>
                  <a:lnTo>
                    <a:pt x="1030" y="2599"/>
                  </a:lnTo>
                  <a:lnTo>
                    <a:pt x="1069" y="2571"/>
                  </a:lnTo>
                  <a:lnTo>
                    <a:pt x="1088" y="2449"/>
                  </a:lnTo>
                  <a:lnTo>
                    <a:pt x="1021" y="1889"/>
                  </a:lnTo>
                  <a:lnTo>
                    <a:pt x="785" y="1445"/>
                  </a:lnTo>
                  <a:lnTo>
                    <a:pt x="635" y="1295"/>
                  </a:lnTo>
                  <a:lnTo>
                    <a:pt x="359" y="1267"/>
                  </a:lnTo>
                  <a:lnTo>
                    <a:pt x="320" y="1153"/>
                  </a:lnTo>
                  <a:lnTo>
                    <a:pt x="272" y="992"/>
                  </a:lnTo>
                  <a:lnTo>
                    <a:pt x="226" y="898"/>
                  </a:lnTo>
                  <a:lnTo>
                    <a:pt x="238" y="794"/>
                  </a:lnTo>
                  <a:lnTo>
                    <a:pt x="20" y="566"/>
                  </a:lnTo>
                  <a:lnTo>
                    <a:pt x="0" y="527"/>
                  </a:lnTo>
                  <a:lnTo>
                    <a:pt x="56" y="512"/>
                  </a:lnTo>
                  <a:lnTo>
                    <a:pt x="95" y="539"/>
                  </a:lnTo>
                  <a:lnTo>
                    <a:pt x="257" y="539"/>
                  </a:lnTo>
                  <a:lnTo>
                    <a:pt x="331" y="633"/>
                  </a:lnTo>
                  <a:lnTo>
                    <a:pt x="549" y="641"/>
                  </a:lnTo>
                  <a:lnTo>
                    <a:pt x="615" y="594"/>
                  </a:lnTo>
                  <a:lnTo>
                    <a:pt x="833" y="755"/>
                  </a:lnTo>
                  <a:lnTo>
                    <a:pt x="899" y="708"/>
                  </a:lnTo>
                  <a:lnTo>
                    <a:pt x="887" y="586"/>
                  </a:lnTo>
                  <a:lnTo>
                    <a:pt x="1030" y="519"/>
                  </a:lnTo>
                  <a:lnTo>
                    <a:pt x="1076" y="471"/>
                  </a:lnTo>
                  <a:lnTo>
                    <a:pt x="1219" y="512"/>
                  </a:lnTo>
                  <a:lnTo>
                    <a:pt x="1392" y="464"/>
                  </a:lnTo>
                  <a:lnTo>
                    <a:pt x="1467" y="398"/>
                  </a:lnTo>
                  <a:lnTo>
                    <a:pt x="1589" y="330"/>
                  </a:lnTo>
                  <a:lnTo>
                    <a:pt x="1644" y="338"/>
                  </a:lnTo>
                  <a:lnTo>
                    <a:pt x="1892" y="114"/>
                  </a:lnTo>
                  <a:lnTo>
                    <a:pt x="1873" y="27"/>
                  </a:lnTo>
                  <a:lnTo>
                    <a:pt x="1873" y="2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grpSp>
          <p:nvGrpSpPr>
            <p:cNvPr id="39" name="Group 31">
              <a:extLst>
                <a:ext uri="{FF2B5EF4-FFF2-40B4-BE49-F238E27FC236}">
                  <a16:creationId xmlns:a16="http://schemas.microsoft.com/office/drawing/2014/main" id="{A8361669-D3B1-4031-B158-9343A31E5A6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03796" y="4660723"/>
              <a:ext cx="309422" cy="317359"/>
              <a:chOff x="991" y="2736"/>
              <a:chExt cx="109" cy="137"/>
            </a:xfrm>
            <a:solidFill>
              <a:srgbClr val="7F7F7F"/>
            </a:solidFill>
          </p:grpSpPr>
          <p:sp>
            <p:nvSpPr>
              <p:cNvPr id="46" name="Freeform 32">
                <a:extLst>
                  <a:ext uri="{FF2B5EF4-FFF2-40B4-BE49-F238E27FC236}">
                    <a16:creationId xmlns:a16="http://schemas.microsoft.com/office/drawing/2014/main" id="{3BEC0F87-4052-4C8B-9799-A11571EC5E6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91" y="2834"/>
                <a:ext cx="23" cy="3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28" y="0"/>
                  </a:cxn>
                  <a:cxn ang="0">
                    <a:pos x="34" y="14"/>
                  </a:cxn>
                  <a:cxn ang="0">
                    <a:pos x="30" y="39"/>
                  </a:cxn>
                  <a:cxn ang="0">
                    <a:pos x="23" y="57"/>
                  </a:cxn>
                  <a:cxn ang="0">
                    <a:pos x="0" y="28"/>
                  </a:cxn>
                </a:cxnLst>
                <a:rect l="0" t="0" r="r" b="b"/>
                <a:pathLst>
                  <a:path w="34" h="57">
                    <a:moveTo>
                      <a:pt x="0" y="28"/>
                    </a:moveTo>
                    <a:lnTo>
                      <a:pt x="28" y="0"/>
                    </a:lnTo>
                    <a:lnTo>
                      <a:pt x="34" y="14"/>
                    </a:lnTo>
                    <a:lnTo>
                      <a:pt x="30" y="39"/>
                    </a:lnTo>
                    <a:lnTo>
                      <a:pt x="23" y="57"/>
                    </a:lnTo>
                    <a:lnTo>
                      <a:pt x="0" y="28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  <p:sp>
            <p:nvSpPr>
              <p:cNvPr id="47" name="Freeform 33">
                <a:extLst>
                  <a:ext uri="{FF2B5EF4-FFF2-40B4-BE49-F238E27FC236}">
                    <a16:creationId xmlns:a16="http://schemas.microsoft.com/office/drawing/2014/main" id="{66FC9831-CC97-4E96-BD2D-98C4DF8167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0" y="2736"/>
                <a:ext cx="70" cy="86"/>
              </a:xfrm>
              <a:custGeom>
                <a:avLst/>
                <a:gdLst/>
                <a:ahLst/>
                <a:cxnLst>
                  <a:cxn ang="0">
                    <a:pos x="16" y="114"/>
                  </a:cxn>
                  <a:cxn ang="0">
                    <a:pos x="3" y="126"/>
                  </a:cxn>
                  <a:cxn ang="0">
                    <a:pos x="0" y="123"/>
                  </a:cxn>
                  <a:cxn ang="0">
                    <a:pos x="0" y="121"/>
                  </a:cxn>
                  <a:cxn ang="0">
                    <a:pos x="3" y="107"/>
                  </a:cxn>
                  <a:cxn ang="0">
                    <a:pos x="14" y="94"/>
                  </a:cxn>
                  <a:cxn ang="0">
                    <a:pos x="21" y="78"/>
                  </a:cxn>
                  <a:cxn ang="0">
                    <a:pos x="37" y="66"/>
                  </a:cxn>
                  <a:cxn ang="0">
                    <a:pos x="62" y="18"/>
                  </a:cxn>
                  <a:cxn ang="0">
                    <a:pos x="60" y="0"/>
                  </a:cxn>
                  <a:cxn ang="0">
                    <a:pos x="76" y="0"/>
                  </a:cxn>
                  <a:cxn ang="0">
                    <a:pos x="103" y="7"/>
                  </a:cxn>
                  <a:cxn ang="0">
                    <a:pos x="94" y="23"/>
                  </a:cxn>
                  <a:cxn ang="0">
                    <a:pos x="92" y="43"/>
                  </a:cxn>
                  <a:cxn ang="0">
                    <a:pos x="78" y="50"/>
                  </a:cxn>
                  <a:cxn ang="0">
                    <a:pos x="78" y="62"/>
                  </a:cxn>
                  <a:cxn ang="0">
                    <a:pos x="64" y="66"/>
                  </a:cxn>
                  <a:cxn ang="0">
                    <a:pos x="62" y="85"/>
                  </a:cxn>
                  <a:cxn ang="0">
                    <a:pos x="16" y="114"/>
                  </a:cxn>
                </a:cxnLst>
                <a:rect l="0" t="0" r="r" b="b"/>
                <a:pathLst>
                  <a:path w="103" h="126">
                    <a:moveTo>
                      <a:pt x="16" y="114"/>
                    </a:moveTo>
                    <a:lnTo>
                      <a:pt x="3" y="126"/>
                    </a:lnTo>
                    <a:lnTo>
                      <a:pt x="0" y="123"/>
                    </a:lnTo>
                    <a:lnTo>
                      <a:pt x="0" y="121"/>
                    </a:lnTo>
                    <a:lnTo>
                      <a:pt x="3" y="107"/>
                    </a:lnTo>
                    <a:lnTo>
                      <a:pt x="14" y="94"/>
                    </a:lnTo>
                    <a:lnTo>
                      <a:pt x="21" y="78"/>
                    </a:lnTo>
                    <a:lnTo>
                      <a:pt x="37" y="66"/>
                    </a:lnTo>
                    <a:lnTo>
                      <a:pt x="62" y="18"/>
                    </a:lnTo>
                    <a:lnTo>
                      <a:pt x="60" y="0"/>
                    </a:lnTo>
                    <a:lnTo>
                      <a:pt x="76" y="0"/>
                    </a:lnTo>
                    <a:lnTo>
                      <a:pt x="103" y="7"/>
                    </a:lnTo>
                    <a:lnTo>
                      <a:pt x="94" y="23"/>
                    </a:lnTo>
                    <a:lnTo>
                      <a:pt x="92" y="43"/>
                    </a:lnTo>
                    <a:lnTo>
                      <a:pt x="78" y="50"/>
                    </a:lnTo>
                    <a:lnTo>
                      <a:pt x="78" y="62"/>
                    </a:lnTo>
                    <a:lnTo>
                      <a:pt x="64" y="66"/>
                    </a:lnTo>
                    <a:lnTo>
                      <a:pt x="62" y="85"/>
                    </a:lnTo>
                    <a:lnTo>
                      <a:pt x="16" y="114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</p:grpSp>
        <p:sp>
          <p:nvSpPr>
            <p:cNvPr id="40" name="Freeform 34">
              <a:extLst>
                <a:ext uri="{FF2B5EF4-FFF2-40B4-BE49-F238E27FC236}">
                  <a16:creationId xmlns:a16="http://schemas.microsoft.com/office/drawing/2014/main" id="{BC8BF929-7B0B-46C1-8A20-0AA7283CEBF0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26" y="1213800"/>
              <a:ext cx="96517" cy="30114"/>
            </a:xfrm>
            <a:custGeom>
              <a:avLst/>
              <a:gdLst/>
              <a:ahLst/>
              <a:cxnLst>
                <a:cxn ang="0">
                  <a:pos x="36" y="7"/>
                </a:cxn>
                <a:cxn ang="0">
                  <a:pos x="25" y="14"/>
                </a:cxn>
                <a:cxn ang="0">
                  <a:pos x="2" y="14"/>
                </a:cxn>
                <a:cxn ang="0">
                  <a:pos x="0" y="7"/>
                </a:cxn>
                <a:cxn ang="0">
                  <a:pos x="25" y="0"/>
                </a:cxn>
                <a:cxn ang="0">
                  <a:pos x="34" y="3"/>
                </a:cxn>
                <a:cxn ang="0">
                  <a:pos x="36" y="7"/>
                </a:cxn>
              </a:cxnLst>
              <a:rect l="0" t="0" r="r" b="b"/>
              <a:pathLst>
                <a:path w="36" h="14">
                  <a:moveTo>
                    <a:pt x="36" y="7"/>
                  </a:moveTo>
                  <a:lnTo>
                    <a:pt x="25" y="14"/>
                  </a:lnTo>
                  <a:lnTo>
                    <a:pt x="2" y="14"/>
                  </a:lnTo>
                  <a:lnTo>
                    <a:pt x="0" y="7"/>
                  </a:lnTo>
                  <a:lnTo>
                    <a:pt x="25" y="0"/>
                  </a:lnTo>
                  <a:lnTo>
                    <a:pt x="34" y="3"/>
                  </a:lnTo>
                  <a:lnTo>
                    <a:pt x="36" y="7"/>
                  </a:lnTo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41" name="Freeform 35">
              <a:extLst>
                <a:ext uri="{FF2B5EF4-FFF2-40B4-BE49-F238E27FC236}">
                  <a16:creationId xmlns:a16="http://schemas.microsoft.com/office/drawing/2014/main" id="{8F1327C8-43E2-4DBA-8A07-9962F68DA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33" y="1278661"/>
              <a:ext cx="127743" cy="127407"/>
            </a:xfrm>
            <a:custGeom>
              <a:avLst/>
              <a:gdLst/>
              <a:ahLst/>
              <a:cxnLst>
                <a:cxn ang="0">
                  <a:pos x="6" y="37"/>
                </a:cxn>
                <a:cxn ang="0">
                  <a:pos x="18" y="28"/>
                </a:cxn>
                <a:cxn ang="0">
                  <a:pos x="25" y="7"/>
                </a:cxn>
                <a:cxn ang="0">
                  <a:pos x="45" y="0"/>
                </a:cxn>
                <a:cxn ang="0">
                  <a:pos x="43" y="21"/>
                </a:cxn>
                <a:cxn ang="0">
                  <a:pos x="27" y="44"/>
                </a:cxn>
                <a:cxn ang="0">
                  <a:pos x="4" y="55"/>
                </a:cxn>
                <a:cxn ang="0">
                  <a:pos x="0" y="51"/>
                </a:cxn>
                <a:cxn ang="0">
                  <a:pos x="6" y="37"/>
                </a:cxn>
              </a:cxnLst>
              <a:rect l="0" t="0" r="r" b="b"/>
              <a:pathLst>
                <a:path w="45" h="55">
                  <a:moveTo>
                    <a:pt x="6" y="37"/>
                  </a:moveTo>
                  <a:lnTo>
                    <a:pt x="18" y="28"/>
                  </a:lnTo>
                  <a:lnTo>
                    <a:pt x="25" y="7"/>
                  </a:lnTo>
                  <a:lnTo>
                    <a:pt x="45" y="0"/>
                  </a:lnTo>
                  <a:lnTo>
                    <a:pt x="43" y="21"/>
                  </a:lnTo>
                  <a:lnTo>
                    <a:pt x="27" y="44"/>
                  </a:lnTo>
                  <a:lnTo>
                    <a:pt x="4" y="55"/>
                  </a:lnTo>
                  <a:lnTo>
                    <a:pt x="0" y="51"/>
                  </a:lnTo>
                  <a:lnTo>
                    <a:pt x="6" y="37"/>
                  </a:lnTo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42" name="Freeform 36">
              <a:extLst>
                <a:ext uri="{FF2B5EF4-FFF2-40B4-BE49-F238E27FC236}">
                  <a16:creationId xmlns:a16="http://schemas.microsoft.com/office/drawing/2014/main" id="{D70F1297-BF24-48C4-A95A-A79E47301342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9679" y="3634521"/>
              <a:ext cx="510975" cy="280293"/>
            </a:xfrm>
            <a:custGeom>
              <a:avLst/>
              <a:gdLst/>
              <a:ahLst/>
              <a:cxnLst>
                <a:cxn ang="0">
                  <a:pos x="55" y="689"/>
                </a:cxn>
                <a:cxn ang="0">
                  <a:pos x="130" y="775"/>
                </a:cxn>
                <a:cxn ang="0">
                  <a:pos x="284" y="775"/>
                </a:cxn>
                <a:cxn ang="0">
                  <a:pos x="300" y="796"/>
                </a:cxn>
                <a:cxn ang="0">
                  <a:pos x="205" y="891"/>
                </a:cxn>
                <a:cxn ang="0">
                  <a:pos x="28" y="937"/>
                </a:cxn>
                <a:cxn ang="0">
                  <a:pos x="0" y="1032"/>
                </a:cxn>
                <a:cxn ang="0">
                  <a:pos x="8" y="1115"/>
                </a:cxn>
                <a:cxn ang="0">
                  <a:pos x="75" y="1115"/>
                </a:cxn>
                <a:cxn ang="0">
                  <a:pos x="94" y="1087"/>
                </a:cxn>
                <a:cxn ang="0">
                  <a:pos x="48" y="1020"/>
                </a:cxn>
                <a:cxn ang="0">
                  <a:pos x="63" y="993"/>
                </a:cxn>
                <a:cxn ang="0">
                  <a:pos x="170" y="945"/>
                </a:cxn>
                <a:cxn ang="0">
                  <a:pos x="252" y="993"/>
                </a:cxn>
                <a:cxn ang="0">
                  <a:pos x="395" y="945"/>
                </a:cxn>
                <a:cxn ang="0">
                  <a:pos x="529" y="1000"/>
                </a:cxn>
                <a:cxn ang="0">
                  <a:pos x="616" y="973"/>
                </a:cxn>
                <a:cxn ang="0">
                  <a:pos x="623" y="906"/>
                </a:cxn>
                <a:cxn ang="0">
                  <a:pos x="670" y="891"/>
                </a:cxn>
                <a:cxn ang="0">
                  <a:pos x="737" y="984"/>
                </a:cxn>
                <a:cxn ang="0">
                  <a:pos x="820" y="993"/>
                </a:cxn>
                <a:cxn ang="0">
                  <a:pos x="1170" y="953"/>
                </a:cxn>
                <a:cxn ang="0">
                  <a:pos x="1211" y="804"/>
                </a:cxn>
                <a:cxn ang="0">
                  <a:pos x="1597" y="614"/>
                </a:cxn>
                <a:cxn ang="0">
                  <a:pos x="1597" y="433"/>
                </a:cxn>
                <a:cxn ang="0">
                  <a:pos x="1673" y="236"/>
                </a:cxn>
                <a:cxn ang="0">
                  <a:pos x="1671" y="236"/>
                </a:cxn>
                <a:cxn ang="0">
                  <a:pos x="1352" y="149"/>
                </a:cxn>
                <a:cxn ang="0">
                  <a:pos x="1325" y="27"/>
                </a:cxn>
                <a:cxn ang="0">
                  <a:pos x="1293" y="0"/>
                </a:cxn>
                <a:cxn ang="0">
                  <a:pos x="1190" y="87"/>
                </a:cxn>
                <a:cxn ang="0">
                  <a:pos x="1068" y="418"/>
                </a:cxn>
                <a:cxn ang="0">
                  <a:pos x="709" y="559"/>
                </a:cxn>
                <a:cxn ang="0">
                  <a:pos x="407" y="539"/>
                </a:cxn>
                <a:cxn ang="0">
                  <a:pos x="55" y="689"/>
                </a:cxn>
                <a:cxn ang="0">
                  <a:pos x="55" y="689"/>
                </a:cxn>
              </a:cxnLst>
              <a:rect l="0" t="0" r="r" b="b"/>
              <a:pathLst>
                <a:path w="1673" h="1115">
                  <a:moveTo>
                    <a:pt x="55" y="689"/>
                  </a:moveTo>
                  <a:lnTo>
                    <a:pt x="130" y="775"/>
                  </a:lnTo>
                  <a:lnTo>
                    <a:pt x="284" y="775"/>
                  </a:lnTo>
                  <a:lnTo>
                    <a:pt x="300" y="796"/>
                  </a:lnTo>
                  <a:lnTo>
                    <a:pt x="205" y="891"/>
                  </a:lnTo>
                  <a:lnTo>
                    <a:pt x="28" y="937"/>
                  </a:lnTo>
                  <a:lnTo>
                    <a:pt x="0" y="1032"/>
                  </a:lnTo>
                  <a:lnTo>
                    <a:pt x="8" y="1115"/>
                  </a:lnTo>
                  <a:lnTo>
                    <a:pt x="75" y="1115"/>
                  </a:lnTo>
                  <a:lnTo>
                    <a:pt x="94" y="1087"/>
                  </a:lnTo>
                  <a:lnTo>
                    <a:pt x="48" y="1020"/>
                  </a:lnTo>
                  <a:lnTo>
                    <a:pt x="63" y="993"/>
                  </a:lnTo>
                  <a:lnTo>
                    <a:pt x="170" y="945"/>
                  </a:lnTo>
                  <a:lnTo>
                    <a:pt x="252" y="993"/>
                  </a:lnTo>
                  <a:lnTo>
                    <a:pt x="395" y="945"/>
                  </a:lnTo>
                  <a:lnTo>
                    <a:pt x="529" y="1000"/>
                  </a:lnTo>
                  <a:lnTo>
                    <a:pt x="616" y="973"/>
                  </a:lnTo>
                  <a:lnTo>
                    <a:pt x="623" y="906"/>
                  </a:lnTo>
                  <a:lnTo>
                    <a:pt x="670" y="891"/>
                  </a:lnTo>
                  <a:lnTo>
                    <a:pt x="737" y="984"/>
                  </a:lnTo>
                  <a:lnTo>
                    <a:pt x="820" y="993"/>
                  </a:lnTo>
                  <a:lnTo>
                    <a:pt x="1170" y="953"/>
                  </a:lnTo>
                  <a:lnTo>
                    <a:pt x="1211" y="804"/>
                  </a:lnTo>
                  <a:lnTo>
                    <a:pt x="1597" y="614"/>
                  </a:lnTo>
                  <a:lnTo>
                    <a:pt x="1597" y="433"/>
                  </a:lnTo>
                  <a:lnTo>
                    <a:pt x="1673" y="236"/>
                  </a:lnTo>
                  <a:lnTo>
                    <a:pt x="1671" y="236"/>
                  </a:lnTo>
                  <a:lnTo>
                    <a:pt x="1352" y="149"/>
                  </a:lnTo>
                  <a:lnTo>
                    <a:pt x="1325" y="27"/>
                  </a:lnTo>
                  <a:lnTo>
                    <a:pt x="1293" y="0"/>
                  </a:lnTo>
                  <a:lnTo>
                    <a:pt x="1190" y="87"/>
                  </a:lnTo>
                  <a:lnTo>
                    <a:pt x="1068" y="418"/>
                  </a:lnTo>
                  <a:lnTo>
                    <a:pt x="709" y="559"/>
                  </a:lnTo>
                  <a:lnTo>
                    <a:pt x="407" y="539"/>
                  </a:lnTo>
                  <a:lnTo>
                    <a:pt x="55" y="689"/>
                  </a:lnTo>
                  <a:lnTo>
                    <a:pt x="55" y="689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grpSp>
          <p:nvGrpSpPr>
            <p:cNvPr id="43" name="Group 37">
              <a:extLst>
                <a:ext uri="{FF2B5EF4-FFF2-40B4-BE49-F238E27FC236}">
                  <a16:creationId xmlns:a16="http://schemas.microsoft.com/office/drawing/2014/main" id="{87B84F30-DE79-4650-A76E-80E46129735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90163" y="4690202"/>
              <a:ext cx="307767" cy="319435"/>
              <a:chOff x="991" y="2736"/>
              <a:chExt cx="109" cy="137"/>
            </a:xfrm>
            <a:solidFill>
              <a:srgbClr val="7F7F7F"/>
            </a:solidFill>
          </p:grpSpPr>
          <p:sp>
            <p:nvSpPr>
              <p:cNvPr id="44" name="Freeform 38">
                <a:extLst>
                  <a:ext uri="{FF2B5EF4-FFF2-40B4-BE49-F238E27FC236}">
                    <a16:creationId xmlns:a16="http://schemas.microsoft.com/office/drawing/2014/main" id="{3C2BC49D-D9A2-4E0F-9C00-A0FA3EA748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91" y="2834"/>
                <a:ext cx="23" cy="3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28" y="0"/>
                  </a:cxn>
                  <a:cxn ang="0">
                    <a:pos x="34" y="14"/>
                  </a:cxn>
                  <a:cxn ang="0">
                    <a:pos x="30" y="39"/>
                  </a:cxn>
                  <a:cxn ang="0">
                    <a:pos x="23" y="57"/>
                  </a:cxn>
                  <a:cxn ang="0">
                    <a:pos x="0" y="28"/>
                  </a:cxn>
                </a:cxnLst>
                <a:rect l="0" t="0" r="r" b="b"/>
                <a:pathLst>
                  <a:path w="34" h="57">
                    <a:moveTo>
                      <a:pt x="0" y="28"/>
                    </a:moveTo>
                    <a:lnTo>
                      <a:pt x="28" y="0"/>
                    </a:lnTo>
                    <a:lnTo>
                      <a:pt x="34" y="14"/>
                    </a:lnTo>
                    <a:lnTo>
                      <a:pt x="30" y="39"/>
                    </a:lnTo>
                    <a:lnTo>
                      <a:pt x="23" y="57"/>
                    </a:lnTo>
                    <a:lnTo>
                      <a:pt x="0" y="28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  <p:sp>
            <p:nvSpPr>
              <p:cNvPr id="45" name="Freeform 39">
                <a:extLst>
                  <a:ext uri="{FF2B5EF4-FFF2-40B4-BE49-F238E27FC236}">
                    <a16:creationId xmlns:a16="http://schemas.microsoft.com/office/drawing/2014/main" id="{07E84E07-4C5C-4EFD-B5AF-803B9EEDE5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0" y="2736"/>
                <a:ext cx="70" cy="86"/>
              </a:xfrm>
              <a:custGeom>
                <a:avLst/>
                <a:gdLst/>
                <a:ahLst/>
                <a:cxnLst>
                  <a:cxn ang="0">
                    <a:pos x="16" y="114"/>
                  </a:cxn>
                  <a:cxn ang="0">
                    <a:pos x="3" y="126"/>
                  </a:cxn>
                  <a:cxn ang="0">
                    <a:pos x="0" y="123"/>
                  </a:cxn>
                  <a:cxn ang="0">
                    <a:pos x="0" y="121"/>
                  </a:cxn>
                  <a:cxn ang="0">
                    <a:pos x="3" y="107"/>
                  </a:cxn>
                  <a:cxn ang="0">
                    <a:pos x="14" y="94"/>
                  </a:cxn>
                  <a:cxn ang="0">
                    <a:pos x="21" y="78"/>
                  </a:cxn>
                  <a:cxn ang="0">
                    <a:pos x="37" y="66"/>
                  </a:cxn>
                  <a:cxn ang="0">
                    <a:pos x="62" y="18"/>
                  </a:cxn>
                  <a:cxn ang="0">
                    <a:pos x="60" y="0"/>
                  </a:cxn>
                  <a:cxn ang="0">
                    <a:pos x="76" y="0"/>
                  </a:cxn>
                  <a:cxn ang="0">
                    <a:pos x="103" y="7"/>
                  </a:cxn>
                  <a:cxn ang="0">
                    <a:pos x="94" y="23"/>
                  </a:cxn>
                  <a:cxn ang="0">
                    <a:pos x="92" y="43"/>
                  </a:cxn>
                  <a:cxn ang="0">
                    <a:pos x="78" y="50"/>
                  </a:cxn>
                  <a:cxn ang="0">
                    <a:pos x="78" y="62"/>
                  </a:cxn>
                  <a:cxn ang="0">
                    <a:pos x="64" y="66"/>
                  </a:cxn>
                  <a:cxn ang="0">
                    <a:pos x="62" y="85"/>
                  </a:cxn>
                  <a:cxn ang="0">
                    <a:pos x="16" y="114"/>
                  </a:cxn>
                </a:cxnLst>
                <a:rect l="0" t="0" r="r" b="b"/>
                <a:pathLst>
                  <a:path w="103" h="126">
                    <a:moveTo>
                      <a:pt x="16" y="114"/>
                    </a:moveTo>
                    <a:lnTo>
                      <a:pt x="3" y="126"/>
                    </a:lnTo>
                    <a:lnTo>
                      <a:pt x="0" y="123"/>
                    </a:lnTo>
                    <a:lnTo>
                      <a:pt x="0" y="121"/>
                    </a:lnTo>
                    <a:lnTo>
                      <a:pt x="3" y="107"/>
                    </a:lnTo>
                    <a:lnTo>
                      <a:pt x="14" y="94"/>
                    </a:lnTo>
                    <a:lnTo>
                      <a:pt x="21" y="78"/>
                    </a:lnTo>
                    <a:lnTo>
                      <a:pt x="37" y="66"/>
                    </a:lnTo>
                    <a:lnTo>
                      <a:pt x="62" y="18"/>
                    </a:lnTo>
                    <a:lnTo>
                      <a:pt x="60" y="0"/>
                    </a:lnTo>
                    <a:lnTo>
                      <a:pt x="76" y="0"/>
                    </a:lnTo>
                    <a:lnTo>
                      <a:pt x="103" y="7"/>
                    </a:lnTo>
                    <a:lnTo>
                      <a:pt x="94" y="23"/>
                    </a:lnTo>
                    <a:lnTo>
                      <a:pt x="92" y="43"/>
                    </a:lnTo>
                    <a:lnTo>
                      <a:pt x="78" y="50"/>
                    </a:lnTo>
                    <a:lnTo>
                      <a:pt x="78" y="62"/>
                    </a:lnTo>
                    <a:lnTo>
                      <a:pt x="64" y="66"/>
                    </a:lnTo>
                    <a:lnTo>
                      <a:pt x="62" y="85"/>
                    </a:lnTo>
                    <a:lnTo>
                      <a:pt x="16" y="114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</p:grpSp>
      </p:grpSp>
      <p:sp>
        <p:nvSpPr>
          <p:cNvPr id="48" name="CaixaDeTexto 47">
            <a:extLst>
              <a:ext uri="{FF2B5EF4-FFF2-40B4-BE49-F238E27FC236}">
                <a16:creationId xmlns:a16="http://schemas.microsoft.com/office/drawing/2014/main" id="{AB712DEA-F62C-4746-BF63-C12D6AD56B18}"/>
              </a:ext>
            </a:extLst>
          </p:cNvPr>
          <p:cNvSpPr txBox="1"/>
          <p:nvPr/>
        </p:nvSpPr>
        <p:spPr>
          <a:xfrm>
            <a:off x="5121624" y="3722534"/>
            <a:ext cx="6788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46,8%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6D809181-4288-40E3-BA38-35ECEA9F4E9C}"/>
              </a:ext>
            </a:extLst>
          </p:cNvPr>
          <p:cNvSpPr txBox="1"/>
          <p:nvPr/>
        </p:nvSpPr>
        <p:spPr>
          <a:xfrm>
            <a:off x="4677119" y="4167964"/>
            <a:ext cx="5159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6,9%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777EC863-7ACA-4049-AED6-100DE78E2F38}"/>
              </a:ext>
            </a:extLst>
          </p:cNvPr>
          <p:cNvSpPr txBox="1"/>
          <p:nvPr/>
        </p:nvSpPr>
        <p:spPr>
          <a:xfrm>
            <a:off x="4552799" y="3406555"/>
            <a:ext cx="6182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11,3%</a:t>
            </a: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25DDFB2E-7890-4BF2-AC30-D458436F97B0}"/>
              </a:ext>
            </a:extLst>
          </p:cNvPr>
          <p:cNvSpPr txBox="1"/>
          <p:nvPr/>
        </p:nvSpPr>
        <p:spPr>
          <a:xfrm>
            <a:off x="4152387" y="2687436"/>
            <a:ext cx="5159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8,4%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3ECC4638-4E33-4D7B-84D0-87CDA383A6A9}"/>
              </a:ext>
            </a:extLst>
          </p:cNvPr>
          <p:cNvSpPr txBox="1"/>
          <p:nvPr/>
        </p:nvSpPr>
        <p:spPr>
          <a:xfrm>
            <a:off x="5404921" y="2932534"/>
            <a:ext cx="5806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26,9%</a:t>
            </a:r>
          </a:p>
        </p:txBody>
      </p:sp>
      <p:grpSp>
        <p:nvGrpSpPr>
          <p:cNvPr id="53" name="Agrupar 52">
            <a:extLst>
              <a:ext uri="{FF2B5EF4-FFF2-40B4-BE49-F238E27FC236}">
                <a16:creationId xmlns:a16="http://schemas.microsoft.com/office/drawing/2014/main" id="{6B146BF4-4D9D-4DD7-9CA0-7F1A188FEE79}"/>
              </a:ext>
            </a:extLst>
          </p:cNvPr>
          <p:cNvGrpSpPr/>
          <p:nvPr/>
        </p:nvGrpSpPr>
        <p:grpSpPr>
          <a:xfrm>
            <a:off x="6588224" y="2211710"/>
            <a:ext cx="2448272" cy="2520280"/>
            <a:chOff x="990600" y="699542"/>
            <a:chExt cx="5334000" cy="4343400"/>
          </a:xfrm>
        </p:grpSpPr>
        <p:sp>
          <p:nvSpPr>
            <p:cNvPr id="54" name="Freeform 5">
              <a:extLst>
                <a:ext uri="{FF2B5EF4-FFF2-40B4-BE49-F238E27FC236}">
                  <a16:creationId xmlns:a16="http://schemas.microsoft.com/office/drawing/2014/main" id="{25BC9808-4D2E-47B9-AA54-4856CA8D094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6377" y="3495533"/>
              <a:ext cx="1124142" cy="616184"/>
            </a:xfrm>
            <a:custGeom>
              <a:avLst/>
              <a:gdLst/>
              <a:ahLst/>
              <a:cxnLst>
                <a:cxn ang="0">
                  <a:pos x="1932" y="2411"/>
                </a:cxn>
                <a:cxn ang="0">
                  <a:pos x="1864" y="2325"/>
                </a:cxn>
                <a:cxn ang="0">
                  <a:pos x="1762" y="2202"/>
                </a:cxn>
                <a:cxn ang="0">
                  <a:pos x="1478" y="2116"/>
                </a:cxn>
                <a:cxn ang="0">
                  <a:pos x="1391" y="1852"/>
                </a:cxn>
                <a:cxn ang="0">
                  <a:pos x="1194" y="1407"/>
                </a:cxn>
                <a:cxn ang="0">
                  <a:pos x="694" y="1265"/>
                </a:cxn>
                <a:cxn ang="0">
                  <a:pos x="303" y="1257"/>
                </a:cxn>
                <a:cxn ang="0">
                  <a:pos x="0" y="1192"/>
                </a:cxn>
                <a:cxn ang="0">
                  <a:pos x="351" y="832"/>
                </a:cxn>
                <a:cxn ang="0">
                  <a:pos x="446" y="662"/>
                </a:cxn>
                <a:cxn ang="0">
                  <a:pos x="654" y="264"/>
                </a:cxn>
                <a:cxn ang="0">
                  <a:pos x="826" y="100"/>
                </a:cxn>
                <a:cxn ang="0">
                  <a:pos x="1221" y="67"/>
                </a:cxn>
                <a:cxn ang="0">
                  <a:pos x="1534" y="123"/>
                </a:cxn>
                <a:cxn ang="0">
                  <a:pos x="1695" y="225"/>
                </a:cxn>
                <a:cxn ang="0">
                  <a:pos x="2046" y="189"/>
                </a:cxn>
                <a:cxn ang="0">
                  <a:pos x="2350" y="162"/>
                </a:cxn>
                <a:cxn ang="0">
                  <a:pos x="2377" y="303"/>
                </a:cxn>
                <a:cxn ang="0">
                  <a:pos x="2396" y="500"/>
                </a:cxn>
                <a:cxn ang="0">
                  <a:pos x="2538" y="764"/>
                </a:cxn>
                <a:cxn ang="0">
                  <a:pos x="2668" y="851"/>
                </a:cxn>
                <a:cxn ang="0">
                  <a:pos x="2632" y="1182"/>
                </a:cxn>
                <a:cxn ang="0">
                  <a:pos x="2727" y="1359"/>
                </a:cxn>
                <a:cxn ang="0">
                  <a:pos x="2964" y="1398"/>
                </a:cxn>
                <a:cxn ang="0">
                  <a:pos x="3256" y="1284"/>
                </a:cxn>
                <a:cxn ang="0">
                  <a:pos x="3472" y="1323"/>
                </a:cxn>
                <a:cxn ang="0">
                  <a:pos x="3642" y="1344"/>
                </a:cxn>
                <a:cxn ang="0">
                  <a:pos x="3370" y="1485"/>
                </a:cxn>
                <a:cxn ang="0">
                  <a:pos x="3350" y="1663"/>
                </a:cxn>
                <a:cxn ang="0">
                  <a:pos x="3038" y="1871"/>
                </a:cxn>
                <a:cxn ang="0">
                  <a:pos x="2538" y="2005"/>
                </a:cxn>
                <a:cxn ang="0">
                  <a:pos x="1971" y="2446"/>
                </a:cxn>
              </a:cxnLst>
              <a:rect l="0" t="0" r="r" b="b"/>
              <a:pathLst>
                <a:path w="3642" h="2446">
                  <a:moveTo>
                    <a:pt x="1971" y="2446"/>
                  </a:moveTo>
                  <a:lnTo>
                    <a:pt x="1932" y="2411"/>
                  </a:lnTo>
                  <a:lnTo>
                    <a:pt x="1932" y="2391"/>
                  </a:lnTo>
                  <a:lnTo>
                    <a:pt x="1864" y="2325"/>
                  </a:lnTo>
                  <a:lnTo>
                    <a:pt x="1782" y="2371"/>
                  </a:lnTo>
                  <a:lnTo>
                    <a:pt x="1762" y="2202"/>
                  </a:lnTo>
                  <a:lnTo>
                    <a:pt x="1514" y="2182"/>
                  </a:lnTo>
                  <a:lnTo>
                    <a:pt x="1478" y="2116"/>
                  </a:lnTo>
                  <a:lnTo>
                    <a:pt x="1514" y="2053"/>
                  </a:lnTo>
                  <a:lnTo>
                    <a:pt x="1391" y="1852"/>
                  </a:lnTo>
                  <a:lnTo>
                    <a:pt x="1364" y="1595"/>
                  </a:lnTo>
                  <a:lnTo>
                    <a:pt x="1194" y="1407"/>
                  </a:lnTo>
                  <a:lnTo>
                    <a:pt x="978" y="1407"/>
                  </a:lnTo>
                  <a:lnTo>
                    <a:pt x="694" y="1265"/>
                  </a:lnTo>
                  <a:lnTo>
                    <a:pt x="458" y="1257"/>
                  </a:lnTo>
                  <a:lnTo>
                    <a:pt x="303" y="1257"/>
                  </a:lnTo>
                  <a:lnTo>
                    <a:pt x="87" y="1249"/>
                  </a:lnTo>
                  <a:lnTo>
                    <a:pt x="0" y="1192"/>
                  </a:lnTo>
                  <a:lnTo>
                    <a:pt x="174" y="1068"/>
                  </a:lnTo>
                  <a:lnTo>
                    <a:pt x="351" y="832"/>
                  </a:lnTo>
                  <a:lnTo>
                    <a:pt x="351" y="764"/>
                  </a:lnTo>
                  <a:lnTo>
                    <a:pt x="446" y="662"/>
                  </a:lnTo>
                  <a:lnTo>
                    <a:pt x="512" y="481"/>
                  </a:lnTo>
                  <a:lnTo>
                    <a:pt x="654" y="264"/>
                  </a:lnTo>
                  <a:lnTo>
                    <a:pt x="824" y="142"/>
                  </a:lnTo>
                  <a:lnTo>
                    <a:pt x="826" y="100"/>
                  </a:lnTo>
                  <a:lnTo>
                    <a:pt x="1012" y="0"/>
                  </a:lnTo>
                  <a:lnTo>
                    <a:pt x="1221" y="67"/>
                  </a:lnTo>
                  <a:lnTo>
                    <a:pt x="1498" y="55"/>
                  </a:lnTo>
                  <a:lnTo>
                    <a:pt x="1534" y="123"/>
                  </a:lnTo>
                  <a:lnTo>
                    <a:pt x="1534" y="189"/>
                  </a:lnTo>
                  <a:lnTo>
                    <a:pt x="1695" y="225"/>
                  </a:lnTo>
                  <a:lnTo>
                    <a:pt x="1789" y="170"/>
                  </a:lnTo>
                  <a:lnTo>
                    <a:pt x="2046" y="189"/>
                  </a:lnTo>
                  <a:lnTo>
                    <a:pt x="2175" y="102"/>
                  </a:lnTo>
                  <a:lnTo>
                    <a:pt x="2350" y="162"/>
                  </a:lnTo>
                  <a:lnTo>
                    <a:pt x="2404" y="237"/>
                  </a:lnTo>
                  <a:lnTo>
                    <a:pt x="2377" y="303"/>
                  </a:lnTo>
                  <a:lnTo>
                    <a:pt x="2443" y="426"/>
                  </a:lnTo>
                  <a:lnTo>
                    <a:pt x="2396" y="500"/>
                  </a:lnTo>
                  <a:lnTo>
                    <a:pt x="2471" y="718"/>
                  </a:lnTo>
                  <a:lnTo>
                    <a:pt x="2538" y="764"/>
                  </a:lnTo>
                  <a:lnTo>
                    <a:pt x="2649" y="776"/>
                  </a:lnTo>
                  <a:lnTo>
                    <a:pt x="2668" y="851"/>
                  </a:lnTo>
                  <a:lnTo>
                    <a:pt x="2593" y="1107"/>
                  </a:lnTo>
                  <a:lnTo>
                    <a:pt x="2632" y="1182"/>
                  </a:lnTo>
                  <a:lnTo>
                    <a:pt x="2743" y="1296"/>
                  </a:lnTo>
                  <a:lnTo>
                    <a:pt x="2727" y="1359"/>
                  </a:lnTo>
                  <a:lnTo>
                    <a:pt x="2783" y="1418"/>
                  </a:lnTo>
                  <a:lnTo>
                    <a:pt x="2964" y="1398"/>
                  </a:lnTo>
                  <a:lnTo>
                    <a:pt x="3019" y="1312"/>
                  </a:lnTo>
                  <a:lnTo>
                    <a:pt x="3256" y="1284"/>
                  </a:lnTo>
                  <a:lnTo>
                    <a:pt x="3397" y="1237"/>
                  </a:lnTo>
                  <a:lnTo>
                    <a:pt x="3472" y="1323"/>
                  </a:lnTo>
                  <a:lnTo>
                    <a:pt x="3626" y="1323"/>
                  </a:lnTo>
                  <a:lnTo>
                    <a:pt x="3642" y="1344"/>
                  </a:lnTo>
                  <a:lnTo>
                    <a:pt x="3547" y="1439"/>
                  </a:lnTo>
                  <a:lnTo>
                    <a:pt x="3370" y="1485"/>
                  </a:lnTo>
                  <a:lnTo>
                    <a:pt x="3342" y="1580"/>
                  </a:lnTo>
                  <a:lnTo>
                    <a:pt x="3350" y="1663"/>
                  </a:lnTo>
                  <a:lnTo>
                    <a:pt x="3074" y="1816"/>
                  </a:lnTo>
                  <a:lnTo>
                    <a:pt x="3038" y="1871"/>
                  </a:lnTo>
                  <a:lnTo>
                    <a:pt x="2877" y="1852"/>
                  </a:lnTo>
                  <a:lnTo>
                    <a:pt x="2538" y="2005"/>
                  </a:lnTo>
                  <a:lnTo>
                    <a:pt x="2046" y="2383"/>
                  </a:lnTo>
                  <a:lnTo>
                    <a:pt x="1971" y="2446"/>
                  </a:lnTo>
                  <a:lnTo>
                    <a:pt x="1971" y="2446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3A110C03-C39C-49B3-9DD8-D02FC874BF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1477" y="1253180"/>
              <a:ext cx="346326" cy="189950"/>
            </a:xfrm>
            <a:custGeom>
              <a:avLst/>
              <a:gdLst/>
              <a:ahLst/>
              <a:cxnLst>
                <a:cxn ang="0">
                  <a:pos x="39" y="108"/>
                </a:cxn>
                <a:cxn ang="0">
                  <a:pos x="16" y="115"/>
                </a:cxn>
                <a:cxn ang="0">
                  <a:pos x="5" y="103"/>
                </a:cxn>
                <a:cxn ang="0">
                  <a:pos x="7" y="96"/>
                </a:cxn>
                <a:cxn ang="0">
                  <a:pos x="0" y="80"/>
                </a:cxn>
                <a:cxn ang="0">
                  <a:pos x="12" y="69"/>
                </a:cxn>
                <a:cxn ang="0">
                  <a:pos x="3" y="64"/>
                </a:cxn>
                <a:cxn ang="0">
                  <a:pos x="5" y="35"/>
                </a:cxn>
                <a:cxn ang="0">
                  <a:pos x="14" y="28"/>
                </a:cxn>
                <a:cxn ang="0">
                  <a:pos x="14" y="12"/>
                </a:cxn>
                <a:cxn ang="0">
                  <a:pos x="30" y="0"/>
                </a:cxn>
                <a:cxn ang="0">
                  <a:pos x="90" y="12"/>
                </a:cxn>
                <a:cxn ang="0">
                  <a:pos x="117" y="7"/>
                </a:cxn>
                <a:cxn ang="0">
                  <a:pos x="170" y="16"/>
                </a:cxn>
                <a:cxn ang="0">
                  <a:pos x="149" y="67"/>
                </a:cxn>
                <a:cxn ang="0">
                  <a:pos x="133" y="80"/>
                </a:cxn>
                <a:cxn ang="0">
                  <a:pos x="135" y="87"/>
                </a:cxn>
                <a:cxn ang="0">
                  <a:pos x="128" y="94"/>
                </a:cxn>
                <a:cxn ang="0">
                  <a:pos x="108" y="96"/>
                </a:cxn>
                <a:cxn ang="0">
                  <a:pos x="99" y="101"/>
                </a:cxn>
                <a:cxn ang="0">
                  <a:pos x="92" y="99"/>
                </a:cxn>
                <a:cxn ang="0">
                  <a:pos x="71" y="112"/>
                </a:cxn>
                <a:cxn ang="0">
                  <a:pos x="48" y="115"/>
                </a:cxn>
                <a:cxn ang="0">
                  <a:pos x="39" y="108"/>
                </a:cxn>
              </a:cxnLst>
              <a:rect l="0" t="0" r="r" b="b"/>
              <a:pathLst>
                <a:path w="170" h="115">
                  <a:moveTo>
                    <a:pt x="39" y="108"/>
                  </a:moveTo>
                  <a:lnTo>
                    <a:pt x="16" y="115"/>
                  </a:lnTo>
                  <a:lnTo>
                    <a:pt x="5" y="103"/>
                  </a:lnTo>
                  <a:lnTo>
                    <a:pt x="7" y="96"/>
                  </a:lnTo>
                  <a:lnTo>
                    <a:pt x="0" y="80"/>
                  </a:lnTo>
                  <a:lnTo>
                    <a:pt x="12" y="69"/>
                  </a:lnTo>
                  <a:lnTo>
                    <a:pt x="3" y="64"/>
                  </a:lnTo>
                  <a:lnTo>
                    <a:pt x="5" y="35"/>
                  </a:lnTo>
                  <a:lnTo>
                    <a:pt x="14" y="28"/>
                  </a:lnTo>
                  <a:lnTo>
                    <a:pt x="14" y="12"/>
                  </a:lnTo>
                  <a:lnTo>
                    <a:pt x="30" y="0"/>
                  </a:lnTo>
                  <a:lnTo>
                    <a:pt x="90" y="12"/>
                  </a:lnTo>
                  <a:lnTo>
                    <a:pt x="117" y="7"/>
                  </a:lnTo>
                  <a:lnTo>
                    <a:pt x="170" y="16"/>
                  </a:lnTo>
                  <a:lnTo>
                    <a:pt x="149" y="67"/>
                  </a:lnTo>
                  <a:lnTo>
                    <a:pt x="133" y="80"/>
                  </a:lnTo>
                  <a:lnTo>
                    <a:pt x="135" y="87"/>
                  </a:lnTo>
                  <a:lnTo>
                    <a:pt x="128" y="94"/>
                  </a:lnTo>
                  <a:lnTo>
                    <a:pt x="108" y="96"/>
                  </a:lnTo>
                  <a:lnTo>
                    <a:pt x="99" y="101"/>
                  </a:lnTo>
                  <a:lnTo>
                    <a:pt x="92" y="99"/>
                  </a:lnTo>
                  <a:lnTo>
                    <a:pt x="71" y="112"/>
                  </a:lnTo>
                  <a:lnTo>
                    <a:pt x="48" y="115"/>
                  </a:lnTo>
                  <a:lnTo>
                    <a:pt x="39" y="108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937F76E0-73D7-4AA8-AE2D-645C8F3540A6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4264" y="3321797"/>
              <a:ext cx="309422" cy="372953"/>
            </a:xfrm>
            <a:custGeom>
              <a:avLst/>
              <a:gdLst/>
              <a:ahLst/>
              <a:cxnLst>
                <a:cxn ang="0">
                  <a:pos x="757" y="0"/>
                </a:cxn>
                <a:cxn ang="0">
                  <a:pos x="615" y="0"/>
                </a:cxn>
                <a:cxn ang="0">
                  <a:pos x="445" y="75"/>
                </a:cxn>
                <a:cxn ang="0">
                  <a:pos x="399" y="169"/>
                </a:cxn>
                <a:cxn ang="0">
                  <a:pos x="426" y="303"/>
                </a:cxn>
                <a:cxn ang="0">
                  <a:pos x="438" y="370"/>
                </a:cxn>
                <a:cxn ang="0">
                  <a:pos x="399" y="446"/>
                </a:cxn>
                <a:cxn ang="0">
                  <a:pos x="426" y="615"/>
                </a:cxn>
                <a:cxn ang="0">
                  <a:pos x="399" y="710"/>
                </a:cxn>
                <a:cxn ang="0">
                  <a:pos x="248" y="938"/>
                </a:cxn>
                <a:cxn ang="0">
                  <a:pos x="209" y="1004"/>
                </a:cxn>
                <a:cxn ang="0">
                  <a:pos x="95" y="992"/>
                </a:cxn>
                <a:cxn ang="0">
                  <a:pos x="20" y="1067"/>
                </a:cxn>
                <a:cxn ang="0">
                  <a:pos x="0" y="1249"/>
                </a:cxn>
                <a:cxn ang="0">
                  <a:pos x="32" y="1276"/>
                </a:cxn>
                <a:cxn ang="0">
                  <a:pos x="59" y="1398"/>
                </a:cxn>
                <a:cxn ang="0">
                  <a:pos x="378" y="1485"/>
                </a:cxn>
                <a:cxn ang="0">
                  <a:pos x="380" y="1485"/>
                </a:cxn>
                <a:cxn ang="0">
                  <a:pos x="399" y="1438"/>
                </a:cxn>
                <a:cxn ang="0">
                  <a:pos x="615" y="1221"/>
                </a:cxn>
                <a:cxn ang="0">
                  <a:pos x="647" y="1107"/>
                </a:cxn>
                <a:cxn ang="0">
                  <a:pos x="890" y="796"/>
                </a:cxn>
                <a:cxn ang="0">
                  <a:pos x="938" y="521"/>
                </a:cxn>
                <a:cxn ang="0">
                  <a:pos x="994" y="181"/>
                </a:cxn>
                <a:cxn ang="0">
                  <a:pos x="757" y="0"/>
                </a:cxn>
                <a:cxn ang="0">
                  <a:pos x="757" y="0"/>
                </a:cxn>
              </a:cxnLst>
              <a:rect l="0" t="0" r="r" b="b"/>
              <a:pathLst>
                <a:path w="994" h="1485">
                  <a:moveTo>
                    <a:pt x="757" y="0"/>
                  </a:moveTo>
                  <a:lnTo>
                    <a:pt x="615" y="0"/>
                  </a:lnTo>
                  <a:lnTo>
                    <a:pt x="445" y="75"/>
                  </a:lnTo>
                  <a:lnTo>
                    <a:pt x="399" y="169"/>
                  </a:lnTo>
                  <a:lnTo>
                    <a:pt x="426" y="303"/>
                  </a:lnTo>
                  <a:lnTo>
                    <a:pt x="438" y="370"/>
                  </a:lnTo>
                  <a:lnTo>
                    <a:pt x="399" y="446"/>
                  </a:lnTo>
                  <a:lnTo>
                    <a:pt x="426" y="615"/>
                  </a:lnTo>
                  <a:lnTo>
                    <a:pt x="399" y="710"/>
                  </a:lnTo>
                  <a:lnTo>
                    <a:pt x="248" y="938"/>
                  </a:lnTo>
                  <a:lnTo>
                    <a:pt x="209" y="1004"/>
                  </a:lnTo>
                  <a:lnTo>
                    <a:pt x="95" y="992"/>
                  </a:lnTo>
                  <a:lnTo>
                    <a:pt x="20" y="1067"/>
                  </a:lnTo>
                  <a:lnTo>
                    <a:pt x="0" y="1249"/>
                  </a:lnTo>
                  <a:lnTo>
                    <a:pt x="32" y="1276"/>
                  </a:lnTo>
                  <a:lnTo>
                    <a:pt x="59" y="1398"/>
                  </a:lnTo>
                  <a:lnTo>
                    <a:pt x="378" y="1485"/>
                  </a:lnTo>
                  <a:lnTo>
                    <a:pt x="380" y="1485"/>
                  </a:lnTo>
                  <a:lnTo>
                    <a:pt x="399" y="1438"/>
                  </a:lnTo>
                  <a:lnTo>
                    <a:pt x="615" y="1221"/>
                  </a:lnTo>
                  <a:lnTo>
                    <a:pt x="647" y="1107"/>
                  </a:lnTo>
                  <a:lnTo>
                    <a:pt x="890" y="796"/>
                  </a:lnTo>
                  <a:lnTo>
                    <a:pt x="938" y="521"/>
                  </a:lnTo>
                  <a:lnTo>
                    <a:pt x="994" y="181"/>
                  </a:lnTo>
                  <a:lnTo>
                    <a:pt x="757" y="0"/>
                  </a:lnTo>
                  <a:lnTo>
                    <a:pt x="757" y="0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F778E288-52FB-4922-9981-AC6988DA1839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1467" y="4313251"/>
              <a:ext cx="950979" cy="729691"/>
            </a:xfrm>
            <a:custGeom>
              <a:avLst/>
              <a:gdLst/>
              <a:ahLst/>
              <a:cxnLst>
                <a:cxn ang="0">
                  <a:pos x="3085" y="980"/>
                </a:cxn>
                <a:cxn ang="0">
                  <a:pos x="3017" y="944"/>
                </a:cxn>
                <a:cxn ang="0">
                  <a:pos x="2934" y="980"/>
                </a:cxn>
                <a:cxn ang="0">
                  <a:pos x="2895" y="944"/>
                </a:cxn>
                <a:cxn ang="0">
                  <a:pos x="2982" y="859"/>
                </a:cxn>
                <a:cxn ang="0">
                  <a:pos x="2990" y="803"/>
                </a:cxn>
                <a:cxn ang="0">
                  <a:pos x="3085" y="677"/>
                </a:cxn>
                <a:cxn ang="0">
                  <a:pos x="3077" y="629"/>
                </a:cxn>
                <a:cxn ang="0">
                  <a:pos x="2828" y="602"/>
                </a:cxn>
                <a:cxn ang="0">
                  <a:pos x="2679" y="461"/>
                </a:cxn>
                <a:cxn ang="0">
                  <a:pos x="2470" y="252"/>
                </a:cxn>
                <a:cxn ang="0">
                  <a:pos x="2225" y="109"/>
                </a:cxn>
                <a:cxn ang="0">
                  <a:pos x="2138" y="82"/>
                </a:cxn>
                <a:cxn ang="0">
                  <a:pos x="1583" y="0"/>
                </a:cxn>
                <a:cxn ang="0">
                  <a:pos x="1469" y="7"/>
                </a:cxn>
                <a:cxn ang="0">
                  <a:pos x="1239" y="157"/>
                </a:cxn>
                <a:cxn ang="0">
                  <a:pos x="1110" y="224"/>
                </a:cxn>
                <a:cxn ang="0">
                  <a:pos x="767" y="500"/>
                </a:cxn>
                <a:cxn ang="0">
                  <a:pos x="731" y="594"/>
                </a:cxn>
                <a:cxn ang="0">
                  <a:pos x="653" y="602"/>
                </a:cxn>
                <a:cxn ang="0">
                  <a:pos x="369" y="932"/>
                </a:cxn>
                <a:cxn ang="0">
                  <a:pos x="353" y="992"/>
                </a:cxn>
                <a:cxn ang="0">
                  <a:pos x="117" y="1284"/>
                </a:cxn>
                <a:cxn ang="0">
                  <a:pos x="0" y="1435"/>
                </a:cxn>
                <a:cxn ang="0">
                  <a:pos x="144" y="1464"/>
                </a:cxn>
                <a:cxn ang="0">
                  <a:pos x="226" y="1359"/>
                </a:cxn>
                <a:cxn ang="0">
                  <a:pos x="389" y="1445"/>
                </a:cxn>
                <a:cxn ang="0">
                  <a:pos x="464" y="1500"/>
                </a:cxn>
                <a:cxn ang="0">
                  <a:pos x="617" y="1689"/>
                </a:cxn>
                <a:cxn ang="0">
                  <a:pos x="617" y="1776"/>
                </a:cxn>
                <a:cxn ang="0">
                  <a:pos x="665" y="1803"/>
                </a:cxn>
                <a:cxn ang="0">
                  <a:pos x="767" y="1709"/>
                </a:cxn>
                <a:cxn ang="0">
                  <a:pos x="787" y="1689"/>
                </a:cxn>
                <a:cxn ang="0">
                  <a:pos x="996" y="1906"/>
                </a:cxn>
                <a:cxn ang="0">
                  <a:pos x="1165" y="1973"/>
                </a:cxn>
                <a:cxn ang="0">
                  <a:pos x="1280" y="2126"/>
                </a:cxn>
                <a:cxn ang="0">
                  <a:pos x="1448" y="2201"/>
                </a:cxn>
                <a:cxn ang="0">
                  <a:pos x="1610" y="2437"/>
                </a:cxn>
                <a:cxn ang="0">
                  <a:pos x="1685" y="2493"/>
                </a:cxn>
                <a:cxn ang="0">
                  <a:pos x="1657" y="2551"/>
                </a:cxn>
                <a:cxn ang="0">
                  <a:pos x="1591" y="2626"/>
                </a:cxn>
                <a:cxn ang="0">
                  <a:pos x="1571" y="2748"/>
                </a:cxn>
                <a:cxn ang="0">
                  <a:pos x="1618" y="2910"/>
                </a:cxn>
                <a:cxn ang="0">
                  <a:pos x="1678" y="2898"/>
                </a:cxn>
                <a:cxn ang="0">
                  <a:pos x="1914" y="2646"/>
                </a:cxn>
                <a:cxn ang="0">
                  <a:pos x="2016" y="2398"/>
                </a:cxn>
                <a:cxn ang="0">
                  <a:pos x="2178" y="2189"/>
                </a:cxn>
                <a:cxn ang="0">
                  <a:pos x="2434" y="1993"/>
                </a:cxn>
                <a:cxn ang="0">
                  <a:pos x="2745" y="1634"/>
                </a:cxn>
                <a:cxn ang="0">
                  <a:pos x="2922" y="1264"/>
                </a:cxn>
                <a:cxn ang="0">
                  <a:pos x="3085" y="980"/>
                </a:cxn>
                <a:cxn ang="0">
                  <a:pos x="3085" y="980"/>
                </a:cxn>
              </a:cxnLst>
              <a:rect l="0" t="0" r="r" b="b"/>
              <a:pathLst>
                <a:path w="3085" h="2910">
                  <a:moveTo>
                    <a:pt x="3085" y="980"/>
                  </a:moveTo>
                  <a:lnTo>
                    <a:pt x="3017" y="944"/>
                  </a:lnTo>
                  <a:lnTo>
                    <a:pt x="2934" y="980"/>
                  </a:lnTo>
                  <a:lnTo>
                    <a:pt x="2895" y="944"/>
                  </a:lnTo>
                  <a:lnTo>
                    <a:pt x="2982" y="859"/>
                  </a:lnTo>
                  <a:lnTo>
                    <a:pt x="2990" y="803"/>
                  </a:lnTo>
                  <a:lnTo>
                    <a:pt x="3085" y="677"/>
                  </a:lnTo>
                  <a:lnTo>
                    <a:pt x="3077" y="629"/>
                  </a:lnTo>
                  <a:lnTo>
                    <a:pt x="2828" y="602"/>
                  </a:lnTo>
                  <a:lnTo>
                    <a:pt x="2679" y="461"/>
                  </a:lnTo>
                  <a:lnTo>
                    <a:pt x="2470" y="252"/>
                  </a:lnTo>
                  <a:lnTo>
                    <a:pt x="2225" y="109"/>
                  </a:lnTo>
                  <a:lnTo>
                    <a:pt x="2138" y="82"/>
                  </a:lnTo>
                  <a:lnTo>
                    <a:pt x="1583" y="0"/>
                  </a:lnTo>
                  <a:lnTo>
                    <a:pt x="1469" y="7"/>
                  </a:lnTo>
                  <a:lnTo>
                    <a:pt x="1239" y="157"/>
                  </a:lnTo>
                  <a:lnTo>
                    <a:pt x="1110" y="224"/>
                  </a:lnTo>
                  <a:lnTo>
                    <a:pt x="767" y="500"/>
                  </a:lnTo>
                  <a:lnTo>
                    <a:pt x="731" y="594"/>
                  </a:lnTo>
                  <a:lnTo>
                    <a:pt x="653" y="602"/>
                  </a:lnTo>
                  <a:lnTo>
                    <a:pt x="369" y="932"/>
                  </a:lnTo>
                  <a:lnTo>
                    <a:pt x="353" y="992"/>
                  </a:lnTo>
                  <a:lnTo>
                    <a:pt x="117" y="1284"/>
                  </a:lnTo>
                  <a:lnTo>
                    <a:pt x="0" y="1435"/>
                  </a:lnTo>
                  <a:lnTo>
                    <a:pt x="144" y="1464"/>
                  </a:lnTo>
                  <a:lnTo>
                    <a:pt x="226" y="1359"/>
                  </a:lnTo>
                  <a:lnTo>
                    <a:pt x="389" y="1445"/>
                  </a:lnTo>
                  <a:lnTo>
                    <a:pt x="464" y="1500"/>
                  </a:lnTo>
                  <a:lnTo>
                    <a:pt x="617" y="1689"/>
                  </a:lnTo>
                  <a:lnTo>
                    <a:pt x="617" y="1776"/>
                  </a:lnTo>
                  <a:lnTo>
                    <a:pt x="665" y="1803"/>
                  </a:lnTo>
                  <a:lnTo>
                    <a:pt x="767" y="1709"/>
                  </a:lnTo>
                  <a:lnTo>
                    <a:pt x="787" y="1689"/>
                  </a:lnTo>
                  <a:lnTo>
                    <a:pt x="996" y="1906"/>
                  </a:lnTo>
                  <a:lnTo>
                    <a:pt x="1165" y="1973"/>
                  </a:lnTo>
                  <a:lnTo>
                    <a:pt x="1280" y="2126"/>
                  </a:lnTo>
                  <a:lnTo>
                    <a:pt x="1448" y="2201"/>
                  </a:lnTo>
                  <a:lnTo>
                    <a:pt x="1610" y="2437"/>
                  </a:lnTo>
                  <a:lnTo>
                    <a:pt x="1685" y="2493"/>
                  </a:lnTo>
                  <a:lnTo>
                    <a:pt x="1657" y="2551"/>
                  </a:lnTo>
                  <a:lnTo>
                    <a:pt x="1591" y="2626"/>
                  </a:lnTo>
                  <a:lnTo>
                    <a:pt x="1571" y="2748"/>
                  </a:lnTo>
                  <a:lnTo>
                    <a:pt x="1618" y="2910"/>
                  </a:lnTo>
                  <a:lnTo>
                    <a:pt x="1678" y="2898"/>
                  </a:lnTo>
                  <a:lnTo>
                    <a:pt x="1914" y="2646"/>
                  </a:lnTo>
                  <a:lnTo>
                    <a:pt x="2016" y="2398"/>
                  </a:lnTo>
                  <a:lnTo>
                    <a:pt x="2178" y="2189"/>
                  </a:lnTo>
                  <a:lnTo>
                    <a:pt x="2434" y="1993"/>
                  </a:lnTo>
                  <a:lnTo>
                    <a:pt x="2745" y="1634"/>
                  </a:lnTo>
                  <a:lnTo>
                    <a:pt x="2922" y="1264"/>
                  </a:lnTo>
                  <a:lnTo>
                    <a:pt x="3085" y="980"/>
                  </a:lnTo>
                  <a:lnTo>
                    <a:pt x="3085" y="980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1C911534-7EFB-4DE7-BC11-B35CC52638F6}"/>
                </a:ext>
              </a:extLst>
            </p:cNvPr>
            <p:cNvSpPr>
              <a:spLocks/>
            </p:cNvSpPr>
            <p:nvPr/>
          </p:nvSpPr>
          <p:spPr bwMode="gray">
            <a:xfrm>
              <a:off x="3644826" y="3796674"/>
              <a:ext cx="809043" cy="472563"/>
            </a:xfrm>
            <a:custGeom>
              <a:avLst/>
              <a:gdLst/>
              <a:ahLst/>
              <a:cxnLst>
                <a:cxn ang="0">
                  <a:pos x="2422" y="1621"/>
                </a:cxn>
                <a:cxn ang="0">
                  <a:pos x="2290" y="1597"/>
                </a:cxn>
                <a:cxn ang="0">
                  <a:pos x="2026" y="1680"/>
                </a:cxn>
                <a:cxn ang="0">
                  <a:pos x="1939" y="1624"/>
                </a:cxn>
                <a:cxn ang="0">
                  <a:pos x="1825" y="1585"/>
                </a:cxn>
                <a:cxn ang="0">
                  <a:pos x="1703" y="1617"/>
                </a:cxn>
                <a:cxn ang="0">
                  <a:pos x="1608" y="1597"/>
                </a:cxn>
                <a:cxn ang="0">
                  <a:pos x="1514" y="1692"/>
                </a:cxn>
                <a:cxn ang="0">
                  <a:pos x="1352" y="1711"/>
                </a:cxn>
                <a:cxn ang="0">
                  <a:pos x="1317" y="1767"/>
                </a:cxn>
                <a:cxn ang="0">
                  <a:pos x="1317" y="1842"/>
                </a:cxn>
                <a:cxn ang="0">
                  <a:pos x="1249" y="1881"/>
                </a:cxn>
                <a:cxn ang="0">
                  <a:pos x="985" y="1813"/>
                </a:cxn>
                <a:cxn ang="0">
                  <a:pos x="797" y="1747"/>
                </a:cxn>
                <a:cxn ang="0">
                  <a:pos x="514" y="1711"/>
                </a:cxn>
                <a:cxn ang="0">
                  <a:pos x="356" y="1699"/>
                </a:cxn>
                <a:cxn ang="0">
                  <a:pos x="276" y="1483"/>
                </a:cxn>
                <a:cxn ang="0">
                  <a:pos x="190" y="1436"/>
                </a:cxn>
                <a:cxn ang="0">
                  <a:pos x="47" y="1444"/>
                </a:cxn>
                <a:cxn ang="0">
                  <a:pos x="0" y="1415"/>
                </a:cxn>
                <a:cxn ang="0">
                  <a:pos x="55" y="1124"/>
                </a:cxn>
                <a:cxn ang="0">
                  <a:pos x="115" y="924"/>
                </a:cxn>
                <a:cxn ang="0">
                  <a:pos x="103" y="861"/>
                </a:cxn>
                <a:cxn ang="0">
                  <a:pos x="103" y="718"/>
                </a:cxn>
                <a:cxn ang="0">
                  <a:pos x="190" y="660"/>
                </a:cxn>
                <a:cxn ang="0">
                  <a:pos x="244" y="435"/>
                </a:cxn>
                <a:cxn ang="0">
                  <a:pos x="358" y="320"/>
                </a:cxn>
                <a:cxn ang="0">
                  <a:pos x="378" y="206"/>
                </a:cxn>
                <a:cxn ang="0">
                  <a:pos x="670" y="0"/>
                </a:cxn>
                <a:cxn ang="0">
                  <a:pos x="757" y="57"/>
                </a:cxn>
                <a:cxn ang="0">
                  <a:pos x="973" y="65"/>
                </a:cxn>
                <a:cxn ang="0">
                  <a:pos x="1128" y="65"/>
                </a:cxn>
                <a:cxn ang="0">
                  <a:pos x="1364" y="73"/>
                </a:cxn>
                <a:cxn ang="0">
                  <a:pos x="1648" y="215"/>
                </a:cxn>
                <a:cxn ang="0">
                  <a:pos x="1864" y="215"/>
                </a:cxn>
                <a:cxn ang="0">
                  <a:pos x="2034" y="403"/>
                </a:cxn>
                <a:cxn ang="0">
                  <a:pos x="2061" y="660"/>
                </a:cxn>
                <a:cxn ang="0">
                  <a:pos x="2184" y="861"/>
                </a:cxn>
                <a:cxn ang="0">
                  <a:pos x="2148" y="924"/>
                </a:cxn>
                <a:cxn ang="0">
                  <a:pos x="2184" y="990"/>
                </a:cxn>
                <a:cxn ang="0">
                  <a:pos x="2432" y="1010"/>
                </a:cxn>
                <a:cxn ang="0">
                  <a:pos x="2452" y="1179"/>
                </a:cxn>
                <a:cxn ang="0">
                  <a:pos x="2534" y="1133"/>
                </a:cxn>
                <a:cxn ang="0">
                  <a:pos x="2602" y="1199"/>
                </a:cxn>
                <a:cxn ang="0">
                  <a:pos x="2602" y="1219"/>
                </a:cxn>
                <a:cxn ang="0">
                  <a:pos x="2641" y="1254"/>
                </a:cxn>
                <a:cxn ang="0">
                  <a:pos x="2581" y="1333"/>
                </a:cxn>
                <a:cxn ang="0">
                  <a:pos x="2467" y="1341"/>
                </a:cxn>
                <a:cxn ang="0">
                  <a:pos x="2393" y="1369"/>
                </a:cxn>
                <a:cxn ang="0">
                  <a:pos x="2372" y="1388"/>
                </a:cxn>
                <a:cxn ang="0">
                  <a:pos x="2467" y="1463"/>
                </a:cxn>
                <a:cxn ang="0">
                  <a:pos x="2421" y="1621"/>
                </a:cxn>
                <a:cxn ang="0">
                  <a:pos x="2422" y="1621"/>
                </a:cxn>
                <a:cxn ang="0">
                  <a:pos x="2422" y="1621"/>
                </a:cxn>
              </a:cxnLst>
              <a:rect l="0" t="0" r="r" b="b"/>
              <a:pathLst>
                <a:path w="2641" h="1881">
                  <a:moveTo>
                    <a:pt x="2422" y="1621"/>
                  </a:moveTo>
                  <a:lnTo>
                    <a:pt x="2290" y="1597"/>
                  </a:lnTo>
                  <a:lnTo>
                    <a:pt x="2026" y="1680"/>
                  </a:lnTo>
                  <a:lnTo>
                    <a:pt x="1939" y="1624"/>
                  </a:lnTo>
                  <a:lnTo>
                    <a:pt x="1825" y="1585"/>
                  </a:lnTo>
                  <a:lnTo>
                    <a:pt x="1703" y="1617"/>
                  </a:lnTo>
                  <a:lnTo>
                    <a:pt x="1608" y="1597"/>
                  </a:lnTo>
                  <a:lnTo>
                    <a:pt x="1514" y="1692"/>
                  </a:lnTo>
                  <a:lnTo>
                    <a:pt x="1352" y="1711"/>
                  </a:lnTo>
                  <a:lnTo>
                    <a:pt x="1317" y="1767"/>
                  </a:lnTo>
                  <a:lnTo>
                    <a:pt x="1317" y="1842"/>
                  </a:lnTo>
                  <a:lnTo>
                    <a:pt x="1249" y="1881"/>
                  </a:lnTo>
                  <a:lnTo>
                    <a:pt x="985" y="1813"/>
                  </a:lnTo>
                  <a:lnTo>
                    <a:pt x="797" y="1747"/>
                  </a:lnTo>
                  <a:lnTo>
                    <a:pt x="514" y="1711"/>
                  </a:lnTo>
                  <a:lnTo>
                    <a:pt x="356" y="1699"/>
                  </a:lnTo>
                  <a:lnTo>
                    <a:pt x="276" y="1483"/>
                  </a:lnTo>
                  <a:lnTo>
                    <a:pt x="190" y="1436"/>
                  </a:lnTo>
                  <a:lnTo>
                    <a:pt x="47" y="1444"/>
                  </a:lnTo>
                  <a:lnTo>
                    <a:pt x="0" y="1415"/>
                  </a:lnTo>
                  <a:lnTo>
                    <a:pt x="55" y="1124"/>
                  </a:lnTo>
                  <a:lnTo>
                    <a:pt x="115" y="924"/>
                  </a:lnTo>
                  <a:lnTo>
                    <a:pt x="103" y="861"/>
                  </a:lnTo>
                  <a:lnTo>
                    <a:pt x="103" y="718"/>
                  </a:lnTo>
                  <a:lnTo>
                    <a:pt x="190" y="660"/>
                  </a:lnTo>
                  <a:lnTo>
                    <a:pt x="244" y="435"/>
                  </a:lnTo>
                  <a:lnTo>
                    <a:pt x="358" y="320"/>
                  </a:lnTo>
                  <a:lnTo>
                    <a:pt x="378" y="206"/>
                  </a:lnTo>
                  <a:lnTo>
                    <a:pt x="670" y="0"/>
                  </a:lnTo>
                  <a:lnTo>
                    <a:pt x="757" y="57"/>
                  </a:lnTo>
                  <a:lnTo>
                    <a:pt x="973" y="65"/>
                  </a:lnTo>
                  <a:lnTo>
                    <a:pt x="1128" y="65"/>
                  </a:lnTo>
                  <a:lnTo>
                    <a:pt x="1364" y="73"/>
                  </a:lnTo>
                  <a:lnTo>
                    <a:pt x="1648" y="215"/>
                  </a:lnTo>
                  <a:lnTo>
                    <a:pt x="1864" y="215"/>
                  </a:lnTo>
                  <a:lnTo>
                    <a:pt x="2034" y="403"/>
                  </a:lnTo>
                  <a:lnTo>
                    <a:pt x="2061" y="660"/>
                  </a:lnTo>
                  <a:lnTo>
                    <a:pt x="2184" y="861"/>
                  </a:lnTo>
                  <a:lnTo>
                    <a:pt x="2148" y="924"/>
                  </a:lnTo>
                  <a:lnTo>
                    <a:pt x="2184" y="990"/>
                  </a:lnTo>
                  <a:lnTo>
                    <a:pt x="2432" y="1010"/>
                  </a:lnTo>
                  <a:lnTo>
                    <a:pt x="2452" y="1179"/>
                  </a:lnTo>
                  <a:lnTo>
                    <a:pt x="2534" y="1133"/>
                  </a:lnTo>
                  <a:lnTo>
                    <a:pt x="2602" y="1199"/>
                  </a:lnTo>
                  <a:lnTo>
                    <a:pt x="2602" y="1219"/>
                  </a:lnTo>
                  <a:lnTo>
                    <a:pt x="2641" y="1254"/>
                  </a:lnTo>
                  <a:lnTo>
                    <a:pt x="2581" y="1333"/>
                  </a:lnTo>
                  <a:lnTo>
                    <a:pt x="2467" y="1341"/>
                  </a:lnTo>
                  <a:lnTo>
                    <a:pt x="2393" y="1369"/>
                  </a:lnTo>
                  <a:lnTo>
                    <a:pt x="2372" y="1388"/>
                  </a:lnTo>
                  <a:lnTo>
                    <a:pt x="2467" y="1463"/>
                  </a:lnTo>
                  <a:lnTo>
                    <a:pt x="2421" y="1621"/>
                  </a:lnTo>
                  <a:lnTo>
                    <a:pt x="2422" y="1621"/>
                  </a:lnTo>
                  <a:lnTo>
                    <a:pt x="2422" y="1621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59" name="Freeform 10">
              <a:extLst>
                <a:ext uri="{FF2B5EF4-FFF2-40B4-BE49-F238E27FC236}">
                  <a16:creationId xmlns:a16="http://schemas.microsoft.com/office/drawing/2014/main" id="{C2E881F3-D999-4CEB-8B67-C90864CAE4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4703" y="2888614"/>
              <a:ext cx="1478986" cy="963655"/>
            </a:xfrm>
            <a:custGeom>
              <a:avLst/>
              <a:gdLst/>
              <a:ahLst/>
              <a:cxnLst>
                <a:cxn ang="0">
                  <a:pos x="18" y="2242"/>
                </a:cxn>
                <a:cxn ang="0">
                  <a:pos x="293" y="1922"/>
                </a:cxn>
                <a:cxn ang="0">
                  <a:pos x="708" y="1890"/>
                </a:cxn>
                <a:cxn ang="0">
                  <a:pos x="1153" y="1808"/>
                </a:cxn>
                <a:cxn ang="0">
                  <a:pos x="1578" y="1654"/>
                </a:cxn>
                <a:cxn ang="0">
                  <a:pos x="1512" y="1402"/>
                </a:cxn>
                <a:cxn ang="0">
                  <a:pos x="1645" y="1147"/>
                </a:cxn>
                <a:cxn ang="0">
                  <a:pos x="1551" y="965"/>
                </a:cxn>
                <a:cxn ang="0">
                  <a:pos x="1787" y="674"/>
                </a:cxn>
                <a:cxn ang="0">
                  <a:pos x="1775" y="457"/>
                </a:cxn>
                <a:cxn ang="0">
                  <a:pos x="1929" y="283"/>
                </a:cxn>
                <a:cxn ang="0">
                  <a:pos x="2003" y="181"/>
                </a:cxn>
                <a:cxn ang="0">
                  <a:pos x="2165" y="268"/>
                </a:cxn>
                <a:cxn ang="0">
                  <a:pos x="2374" y="315"/>
                </a:cxn>
                <a:cxn ang="0">
                  <a:pos x="3091" y="11"/>
                </a:cxn>
                <a:cxn ang="0">
                  <a:pos x="3100" y="134"/>
                </a:cxn>
                <a:cxn ang="0">
                  <a:pos x="3320" y="220"/>
                </a:cxn>
                <a:cxn ang="0">
                  <a:pos x="3537" y="229"/>
                </a:cxn>
                <a:cxn ang="0">
                  <a:pos x="4018" y="445"/>
                </a:cxn>
                <a:cxn ang="0">
                  <a:pos x="4199" y="681"/>
                </a:cxn>
                <a:cxn ang="0">
                  <a:pos x="4502" y="740"/>
                </a:cxn>
                <a:cxn ang="0">
                  <a:pos x="4803" y="929"/>
                </a:cxn>
                <a:cxn ang="0">
                  <a:pos x="4653" y="1118"/>
                </a:cxn>
                <a:cxn ang="0">
                  <a:pos x="4490" y="1296"/>
                </a:cxn>
                <a:cxn ang="0">
                  <a:pos x="4456" y="1485"/>
                </a:cxn>
                <a:cxn ang="0">
                  <a:pos x="4566" y="1721"/>
                </a:cxn>
                <a:cxn ang="0">
                  <a:pos x="4254" y="1796"/>
                </a:cxn>
                <a:cxn ang="0">
                  <a:pos x="4235" y="2024"/>
                </a:cxn>
                <a:cxn ang="0">
                  <a:pos x="4208" y="2167"/>
                </a:cxn>
                <a:cxn ang="0">
                  <a:pos x="4208" y="2431"/>
                </a:cxn>
                <a:cxn ang="0">
                  <a:pos x="4018" y="2725"/>
                </a:cxn>
                <a:cxn ang="0">
                  <a:pos x="3829" y="2788"/>
                </a:cxn>
                <a:cxn ang="0">
                  <a:pos x="3706" y="3057"/>
                </a:cxn>
                <a:cxn ang="0">
                  <a:pos x="3225" y="3529"/>
                </a:cxn>
                <a:cxn ang="0">
                  <a:pos x="2571" y="3659"/>
                </a:cxn>
                <a:cxn ang="0">
                  <a:pos x="2193" y="3734"/>
                </a:cxn>
                <a:cxn ang="0">
                  <a:pos x="1957" y="3840"/>
                </a:cxn>
                <a:cxn ang="0">
                  <a:pos x="1917" y="3718"/>
                </a:cxn>
                <a:cxn ang="0">
                  <a:pos x="1767" y="3529"/>
                </a:cxn>
                <a:cxn ang="0">
                  <a:pos x="1823" y="3198"/>
                </a:cxn>
                <a:cxn ang="0">
                  <a:pos x="1645" y="3140"/>
                </a:cxn>
                <a:cxn ang="0">
                  <a:pos x="1617" y="2848"/>
                </a:cxn>
                <a:cxn ang="0">
                  <a:pos x="1578" y="2659"/>
                </a:cxn>
                <a:cxn ang="0">
                  <a:pos x="1349" y="2524"/>
                </a:cxn>
                <a:cxn ang="0">
                  <a:pos x="963" y="2592"/>
                </a:cxn>
                <a:cxn ang="0">
                  <a:pos x="708" y="2611"/>
                </a:cxn>
                <a:cxn ang="0">
                  <a:pos x="672" y="2477"/>
                </a:cxn>
                <a:cxn ang="0">
                  <a:pos x="186" y="2422"/>
                </a:cxn>
                <a:cxn ang="0">
                  <a:pos x="0" y="2522"/>
                </a:cxn>
              </a:cxnLst>
              <a:rect l="0" t="0" r="r" b="b"/>
              <a:pathLst>
                <a:path w="4803" h="3840">
                  <a:moveTo>
                    <a:pt x="0" y="2522"/>
                  </a:moveTo>
                  <a:lnTo>
                    <a:pt x="18" y="2242"/>
                  </a:lnTo>
                  <a:lnTo>
                    <a:pt x="159" y="2119"/>
                  </a:lnTo>
                  <a:lnTo>
                    <a:pt x="293" y="1922"/>
                  </a:lnTo>
                  <a:lnTo>
                    <a:pt x="640" y="1856"/>
                  </a:lnTo>
                  <a:lnTo>
                    <a:pt x="708" y="1890"/>
                  </a:lnTo>
                  <a:lnTo>
                    <a:pt x="829" y="1788"/>
                  </a:lnTo>
                  <a:lnTo>
                    <a:pt x="1153" y="1808"/>
                  </a:lnTo>
                  <a:lnTo>
                    <a:pt x="1361" y="1827"/>
                  </a:lnTo>
                  <a:lnTo>
                    <a:pt x="1578" y="1654"/>
                  </a:lnTo>
                  <a:lnTo>
                    <a:pt x="1586" y="1438"/>
                  </a:lnTo>
                  <a:lnTo>
                    <a:pt x="1512" y="1402"/>
                  </a:lnTo>
                  <a:lnTo>
                    <a:pt x="1503" y="1363"/>
                  </a:lnTo>
                  <a:lnTo>
                    <a:pt x="1645" y="1147"/>
                  </a:lnTo>
                  <a:lnTo>
                    <a:pt x="1598" y="1012"/>
                  </a:lnTo>
                  <a:lnTo>
                    <a:pt x="1551" y="965"/>
                  </a:lnTo>
                  <a:lnTo>
                    <a:pt x="1586" y="740"/>
                  </a:lnTo>
                  <a:lnTo>
                    <a:pt x="1787" y="674"/>
                  </a:lnTo>
                  <a:lnTo>
                    <a:pt x="1787" y="559"/>
                  </a:lnTo>
                  <a:lnTo>
                    <a:pt x="1775" y="457"/>
                  </a:lnTo>
                  <a:lnTo>
                    <a:pt x="1806" y="315"/>
                  </a:lnTo>
                  <a:lnTo>
                    <a:pt x="1929" y="283"/>
                  </a:lnTo>
                  <a:lnTo>
                    <a:pt x="1937" y="181"/>
                  </a:lnTo>
                  <a:lnTo>
                    <a:pt x="2003" y="181"/>
                  </a:lnTo>
                  <a:lnTo>
                    <a:pt x="2059" y="268"/>
                  </a:lnTo>
                  <a:lnTo>
                    <a:pt x="2165" y="268"/>
                  </a:lnTo>
                  <a:lnTo>
                    <a:pt x="2153" y="390"/>
                  </a:lnTo>
                  <a:lnTo>
                    <a:pt x="2374" y="315"/>
                  </a:lnTo>
                  <a:lnTo>
                    <a:pt x="2875" y="0"/>
                  </a:lnTo>
                  <a:lnTo>
                    <a:pt x="3091" y="11"/>
                  </a:lnTo>
                  <a:lnTo>
                    <a:pt x="3132" y="47"/>
                  </a:lnTo>
                  <a:lnTo>
                    <a:pt x="3100" y="134"/>
                  </a:lnTo>
                  <a:lnTo>
                    <a:pt x="3206" y="220"/>
                  </a:lnTo>
                  <a:lnTo>
                    <a:pt x="3320" y="220"/>
                  </a:lnTo>
                  <a:lnTo>
                    <a:pt x="3383" y="181"/>
                  </a:lnTo>
                  <a:lnTo>
                    <a:pt x="3537" y="229"/>
                  </a:lnTo>
                  <a:lnTo>
                    <a:pt x="3809" y="426"/>
                  </a:lnTo>
                  <a:lnTo>
                    <a:pt x="4018" y="445"/>
                  </a:lnTo>
                  <a:lnTo>
                    <a:pt x="4160" y="587"/>
                  </a:lnTo>
                  <a:lnTo>
                    <a:pt x="4199" y="681"/>
                  </a:lnTo>
                  <a:lnTo>
                    <a:pt x="4247" y="720"/>
                  </a:lnTo>
                  <a:lnTo>
                    <a:pt x="4502" y="740"/>
                  </a:lnTo>
                  <a:lnTo>
                    <a:pt x="4740" y="863"/>
                  </a:lnTo>
                  <a:lnTo>
                    <a:pt x="4803" y="929"/>
                  </a:lnTo>
                  <a:lnTo>
                    <a:pt x="4767" y="1024"/>
                  </a:lnTo>
                  <a:lnTo>
                    <a:pt x="4653" y="1118"/>
                  </a:lnTo>
                  <a:lnTo>
                    <a:pt x="4597" y="1229"/>
                  </a:lnTo>
                  <a:lnTo>
                    <a:pt x="4490" y="1296"/>
                  </a:lnTo>
                  <a:lnTo>
                    <a:pt x="4456" y="1410"/>
                  </a:lnTo>
                  <a:lnTo>
                    <a:pt x="4456" y="1485"/>
                  </a:lnTo>
                  <a:lnTo>
                    <a:pt x="4577" y="1627"/>
                  </a:lnTo>
                  <a:lnTo>
                    <a:pt x="4566" y="1721"/>
                  </a:lnTo>
                  <a:lnTo>
                    <a:pt x="4424" y="1721"/>
                  </a:lnTo>
                  <a:lnTo>
                    <a:pt x="4254" y="1796"/>
                  </a:lnTo>
                  <a:lnTo>
                    <a:pt x="4208" y="1890"/>
                  </a:lnTo>
                  <a:lnTo>
                    <a:pt x="4235" y="2024"/>
                  </a:lnTo>
                  <a:lnTo>
                    <a:pt x="4247" y="2091"/>
                  </a:lnTo>
                  <a:lnTo>
                    <a:pt x="4208" y="2167"/>
                  </a:lnTo>
                  <a:lnTo>
                    <a:pt x="4235" y="2336"/>
                  </a:lnTo>
                  <a:lnTo>
                    <a:pt x="4208" y="2431"/>
                  </a:lnTo>
                  <a:lnTo>
                    <a:pt x="4057" y="2659"/>
                  </a:lnTo>
                  <a:lnTo>
                    <a:pt x="4018" y="2725"/>
                  </a:lnTo>
                  <a:lnTo>
                    <a:pt x="3904" y="2713"/>
                  </a:lnTo>
                  <a:lnTo>
                    <a:pt x="3829" y="2788"/>
                  </a:lnTo>
                  <a:lnTo>
                    <a:pt x="3809" y="2970"/>
                  </a:lnTo>
                  <a:lnTo>
                    <a:pt x="3706" y="3057"/>
                  </a:lnTo>
                  <a:lnTo>
                    <a:pt x="3584" y="3388"/>
                  </a:lnTo>
                  <a:lnTo>
                    <a:pt x="3225" y="3529"/>
                  </a:lnTo>
                  <a:lnTo>
                    <a:pt x="2923" y="3509"/>
                  </a:lnTo>
                  <a:lnTo>
                    <a:pt x="2571" y="3659"/>
                  </a:lnTo>
                  <a:lnTo>
                    <a:pt x="2430" y="3706"/>
                  </a:lnTo>
                  <a:lnTo>
                    <a:pt x="2193" y="3734"/>
                  </a:lnTo>
                  <a:lnTo>
                    <a:pt x="2138" y="3820"/>
                  </a:lnTo>
                  <a:lnTo>
                    <a:pt x="1957" y="3840"/>
                  </a:lnTo>
                  <a:lnTo>
                    <a:pt x="1901" y="3781"/>
                  </a:lnTo>
                  <a:lnTo>
                    <a:pt x="1917" y="3718"/>
                  </a:lnTo>
                  <a:lnTo>
                    <a:pt x="1806" y="3604"/>
                  </a:lnTo>
                  <a:lnTo>
                    <a:pt x="1767" y="3529"/>
                  </a:lnTo>
                  <a:lnTo>
                    <a:pt x="1842" y="3273"/>
                  </a:lnTo>
                  <a:lnTo>
                    <a:pt x="1823" y="3198"/>
                  </a:lnTo>
                  <a:lnTo>
                    <a:pt x="1712" y="3186"/>
                  </a:lnTo>
                  <a:lnTo>
                    <a:pt x="1645" y="3140"/>
                  </a:lnTo>
                  <a:lnTo>
                    <a:pt x="1570" y="2922"/>
                  </a:lnTo>
                  <a:lnTo>
                    <a:pt x="1617" y="2848"/>
                  </a:lnTo>
                  <a:lnTo>
                    <a:pt x="1551" y="2725"/>
                  </a:lnTo>
                  <a:lnTo>
                    <a:pt x="1578" y="2659"/>
                  </a:lnTo>
                  <a:lnTo>
                    <a:pt x="1524" y="2584"/>
                  </a:lnTo>
                  <a:lnTo>
                    <a:pt x="1349" y="2524"/>
                  </a:lnTo>
                  <a:lnTo>
                    <a:pt x="1220" y="2611"/>
                  </a:lnTo>
                  <a:lnTo>
                    <a:pt x="963" y="2592"/>
                  </a:lnTo>
                  <a:lnTo>
                    <a:pt x="869" y="2647"/>
                  </a:lnTo>
                  <a:lnTo>
                    <a:pt x="708" y="2611"/>
                  </a:lnTo>
                  <a:lnTo>
                    <a:pt x="708" y="2545"/>
                  </a:lnTo>
                  <a:lnTo>
                    <a:pt x="672" y="2477"/>
                  </a:lnTo>
                  <a:lnTo>
                    <a:pt x="395" y="2489"/>
                  </a:lnTo>
                  <a:lnTo>
                    <a:pt x="186" y="2422"/>
                  </a:lnTo>
                  <a:lnTo>
                    <a:pt x="0" y="2522"/>
                  </a:lnTo>
                  <a:lnTo>
                    <a:pt x="0" y="2522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2866B34E-7F24-4C8D-8CE4-6A3A3AC7C0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3594" y="3199024"/>
              <a:ext cx="933947" cy="782970"/>
            </a:xfrm>
            <a:custGeom>
              <a:avLst/>
              <a:gdLst/>
              <a:ahLst/>
              <a:cxnLst>
                <a:cxn ang="0">
                  <a:pos x="2192" y="2373"/>
                </a:cxn>
                <a:cxn ang="0">
                  <a:pos x="2366" y="2249"/>
                </a:cxn>
                <a:cxn ang="0">
                  <a:pos x="2543" y="2013"/>
                </a:cxn>
                <a:cxn ang="0">
                  <a:pos x="2543" y="1945"/>
                </a:cxn>
                <a:cxn ang="0">
                  <a:pos x="2638" y="1843"/>
                </a:cxn>
                <a:cxn ang="0">
                  <a:pos x="2704" y="1662"/>
                </a:cxn>
                <a:cxn ang="0">
                  <a:pos x="2846" y="1445"/>
                </a:cxn>
                <a:cxn ang="0">
                  <a:pos x="3016" y="1323"/>
                </a:cxn>
                <a:cxn ang="0">
                  <a:pos x="3018" y="1281"/>
                </a:cxn>
                <a:cxn ang="0">
                  <a:pos x="3036" y="1001"/>
                </a:cxn>
                <a:cxn ang="0">
                  <a:pos x="2922" y="926"/>
                </a:cxn>
                <a:cxn ang="0">
                  <a:pos x="2618" y="804"/>
                </a:cxn>
                <a:cxn ang="0">
                  <a:pos x="2307" y="661"/>
                </a:cxn>
                <a:cxn ang="0">
                  <a:pos x="2212" y="661"/>
                </a:cxn>
                <a:cxn ang="0">
                  <a:pos x="2184" y="634"/>
                </a:cxn>
                <a:cxn ang="0">
                  <a:pos x="2239" y="547"/>
                </a:cxn>
                <a:cxn ang="0">
                  <a:pos x="2192" y="508"/>
                </a:cxn>
                <a:cxn ang="0">
                  <a:pos x="2118" y="508"/>
                </a:cxn>
                <a:cxn ang="0">
                  <a:pos x="2098" y="358"/>
                </a:cxn>
                <a:cxn ang="0">
                  <a:pos x="1948" y="263"/>
                </a:cxn>
                <a:cxn ang="0">
                  <a:pos x="1853" y="55"/>
                </a:cxn>
                <a:cxn ang="0">
                  <a:pos x="1764" y="45"/>
                </a:cxn>
                <a:cxn ang="0">
                  <a:pos x="1719" y="122"/>
                </a:cxn>
                <a:cxn ang="0">
                  <a:pos x="1656" y="122"/>
                </a:cxn>
                <a:cxn ang="0">
                  <a:pos x="1475" y="94"/>
                </a:cxn>
                <a:cxn ang="0">
                  <a:pos x="1353" y="177"/>
                </a:cxn>
                <a:cxn ang="0">
                  <a:pos x="833" y="0"/>
                </a:cxn>
                <a:cxn ang="0">
                  <a:pos x="758" y="35"/>
                </a:cxn>
                <a:cxn ang="0">
                  <a:pos x="595" y="67"/>
                </a:cxn>
                <a:cxn ang="0">
                  <a:pos x="481" y="197"/>
                </a:cxn>
                <a:cxn ang="0">
                  <a:pos x="284" y="338"/>
                </a:cxn>
                <a:cxn ang="0">
                  <a:pos x="218" y="460"/>
                </a:cxn>
                <a:cxn ang="0">
                  <a:pos x="63" y="1086"/>
                </a:cxn>
                <a:cxn ang="0">
                  <a:pos x="22" y="1236"/>
                </a:cxn>
                <a:cxn ang="0">
                  <a:pos x="0" y="1312"/>
                </a:cxn>
                <a:cxn ang="0">
                  <a:pos x="36" y="1547"/>
                </a:cxn>
                <a:cxn ang="0">
                  <a:pos x="123" y="1690"/>
                </a:cxn>
                <a:cxn ang="0">
                  <a:pos x="104" y="2256"/>
                </a:cxn>
                <a:cxn ang="0">
                  <a:pos x="150" y="2288"/>
                </a:cxn>
                <a:cxn ang="0">
                  <a:pos x="218" y="2256"/>
                </a:cxn>
                <a:cxn ang="0">
                  <a:pos x="434" y="2316"/>
                </a:cxn>
                <a:cxn ang="0">
                  <a:pos x="624" y="2324"/>
                </a:cxn>
                <a:cxn ang="0">
                  <a:pos x="738" y="2249"/>
                </a:cxn>
                <a:cxn ang="0">
                  <a:pos x="860" y="2336"/>
                </a:cxn>
                <a:cxn ang="0">
                  <a:pos x="982" y="2343"/>
                </a:cxn>
                <a:cxn ang="0">
                  <a:pos x="1076" y="2608"/>
                </a:cxn>
                <a:cxn ang="0">
                  <a:pos x="1105" y="2844"/>
                </a:cxn>
                <a:cxn ang="0">
                  <a:pos x="1151" y="3006"/>
                </a:cxn>
                <a:cxn ang="0">
                  <a:pos x="1183" y="3072"/>
                </a:cxn>
                <a:cxn ang="0">
                  <a:pos x="1278" y="3108"/>
                </a:cxn>
                <a:cxn ang="0">
                  <a:pos x="1494" y="3013"/>
                </a:cxn>
                <a:cxn ang="0">
                  <a:pos x="1625" y="3091"/>
                </a:cxn>
                <a:cxn ang="0">
                  <a:pos x="1712" y="3033"/>
                </a:cxn>
                <a:cxn ang="0">
                  <a:pos x="1766" y="2808"/>
                </a:cxn>
                <a:cxn ang="0">
                  <a:pos x="1880" y="2693"/>
                </a:cxn>
                <a:cxn ang="0">
                  <a:pos x="1900" y="2579"/>
                </a:cxn>
                <a:cxn ang="0">
                  <a:pos x="2192" y="2373"/>
                </a:cxn>
                <a:cxn ang="0">
                  <a:pos x="2192" y="2373"/>
                </a:cxn>
              </a:cxnLst>
              <a:rect l="0" t="0" r="r" b="b"/>
              <a:pathLst>
                <a:path w="3036" h="3108">
                  <a:moveTo>
                    <a:pt x="2192" y="2373"/>
                  </a:moveTo>
                  <a:lnTo>
                    <a:pt x="2366" y="2249"/>
                  </a:lnTo>
                  <a:lnTo>
                    <a:pt x="2543" y="2013"/>
                  </a:lnTo>
                  <a:lnTo>
                    <a:pt x="2543" y="1945"/>
                  </a:lnTo>
                  <a:lnTo>
                    <a:pt x="2638" y="1843"/>
                  </a:lnTo>
                  <a:lnTo>
                    <a:pt x="2704" y="1662"/>
                  </a:lnTo>
                  <a:lnTo>
                    <a:pt x="2846" y="1445"/>
                  </a:lnTo>
                  <a:lnTo>
                    <a:pt x="3016" y="1323"/>
                  </a:lnTo>
                  <a:lnTo>
                    <a:pt x="3018" y="1281"/>
                  </a:lnTo>
                  <a:lnTo>
                    <a:pt x="3036" y="1001"/>
                  </a:lnTo>
                  <a:lnTo>
                    <a:pt x="2922" y="926"/>
                  </a:lnTo>
                  <a:lnTo>
                    <a:pt x="2618" y="804"/>
                  </a:lnTo>
                  <a:lnTo>
                    <a:pt x="2307" y="661"/>
                  </a:lnTo>
                  <a:lnTo>
                    <a:pt x="2212" y="661"/>
                  </a:lnTo>
                  <a:lnTo>
                    <a:pt x="2184" y="634"/>
                  </a:lnTo>
                  <a:lnTo>
                    <a:pt x="2239" y="547"/>
                  </a:lnTo>
                  <a:lnTo>
                    <a:pt x="2192" y="508"/>
                  </a:lnTo>
                  <a:lnTo>
                    <a:pt x="2118" y="508"/>
                  </a:lnTo>
                  <a:lnTo>
                    <a:pt x="2098" y="358"/>
                  </a:lnTo>
                  <a:lnTo>
                    <a:pt x="1948" y="263"/>
                  </a:lnTo>
                  <a:lnTo>
                    <a:pt x="1853" y="55"/>
                  </a:lnTo>
                  <a:lnTo>
                    <a:pt x="1764" y="45"/>
                  </a:lnTo>
                  <a:lnTo>
                    <a:pt x="1719" y="122"/>
                  </a:lnTo>
                  <a:lnTo>
                    <a:pt x="1656" y="122"/>
                  </a:lnTo>
                  <a:lnTo>
                    <a:pt x="1475" y="94"/>
                  </a:lnTo>
                  <a:lnTo>
                    <a:pt x="1353" y="177"/>
                  </a:lnTo>
                  <a:lnTo>
                    <a:pt x="833" y="0"/>
                  </a:lnTo>
                  <a:lnTo>
                    <a:pt x="758" y="35"/>
                  </a:lnTo>
                  <a:lnTo>
                    <a:pt x="595" y="67"/>
                  </a:lnTo>
                  <a:lnTo>
                    <a:pt x="481" y="197"/>
                  </a:lnTo>
                  <a:lnTo>
                    <a:pt x="284" y="338"/>
                  </a:lnTo>
                  <a:lnTo>
                    <a:pt x="218" y="460"/>
                  </a:lnTo>
                  <a:lnTo>
                    <a:pt x="63" y="1086"/>
                  </a:lnTo>
                  <a:lnTo>
                    <a:pt x="22" y="1236"/>
                  </a:lnTo>
                  <a:lnTo>
                    <a:pt x="0" y="1312"/>
                  </a:lnTo>
                  <a:lnTo>
                    <a:pt x="36" y="1547"/>
                  </a:lnTo>
                  <a:lnTo>
                    <a:pt x="123" y="1690"/>
                  </a:lnTo>
                  <a:lnTo>
                    <a:pt x="104" y="2256"/>
                  </a:lnTo>
                  <a:lnTo>
                    <a:pt x="150" y="2288"/>
                  </a:lnTo>
                  <a:lnTo>
                    <a:pt x="218" y="2256"/>
                  </a:lnTo>
                  <a:lnTo>
                    <a:pt x="434" y="2316"/>
                  </a:lnTo>
                  <a:lnTo>
                    <a:pt x="624" y="2324"/>
                  </a:lnTo>
                  <a:lnTo>
                    <a:pt x="738" y="2249"/>
                  </a:lnTo>
                  <a:lnTo>
                    <a:pt x="860" y="2336"/>
                  </a:lnTo>
                  <a:lnTo>
                    <a:pt x="982" y="2343"/>
                  </a:lnTo>
                  <a:lnTo>
                    <a:pt x="1076" y="2608"/>
                  </a:lnTo>
                  <a:lnTo>
                    <a:pt x="1105" y="2844"/>
                  </a:lnTo>
                  <a:lnTo>
                    <a:pt x="1151" y="3006"/>
                  </a:lnTo>
                  <a:lnTo>
                    <a:pt x="1183" y="3072"/>
                  </a:lnTo>
                  <a:lnTo>
                    <a:pt x="1278" y="3108"/>
                  </a:lnTo>
                  <a:lnTo>
                    <a:pt x="1494" y="3013"/>
                  </a:lnTo>
                  <a:lnTo>
                    <a:pt x="1625" y="3091"/>
                  </a:lnTo>
                  <a:lnTo>
                    <a:pt x="1712" y="3033"/>
                  </a:lnTo>
                  <a:lnTo>
                    <a:pt x="1766" y="2808"/>
                  </a:lnTo>
                  <a:lnTo>
                    <a:pt x="1880" y="2693"/>
                  </a:lnTo>
                  <a:lnTo>
                    <a:pt x="1900" y="2579"/>
                  </a:lnTo>
                  <a:lnTo>
                    <a:pt x="2192" y="2373"/>
                  </a:lnTo>
                  <a:lnTo>
                    <a:pt x="2192" y="2373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id="{18932179-BA74-4BAB-93D8-96AFD6F79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5150" y="2645385"/>
              <a:ext cx="970851" cy="803818"/>
            </a:xfrm>
            <a:custGeom>
              <a:avLst/>
              <a:gdLst/>
              <a:ahLst/>
              <a:cxnLst>
                <a:cxn ang="0">
                  <a:pos x="3094" y="347"/>
                </a:cxn>
                <a:cxn ang="0">
                  <a:pos x="3102" y="516"/>
                </a:cxn>
                <a:cxn ang="0">
                  <a:pos x="3000" y="717"/>
                </a:cxn>
                <a:cxn ang="0">
                  <a:pos x="3150" y="1111"/>
                </a:cxn>
                <a:cxn ang="0">
                  <a:pos x="2988" y="1237"/>
                </a:cxn>
                <a:cxn ang="0">
                  <a:pos x="2866" y="1150"/>
                </a:cxn>
                <a:cxn ang="0">
                  <a:pos x="2735" y="1284"/>
                </a:cxn>
                <a:cxn ang="0">
                  <a:pos x="2716" y="1528"/>
                </a:cxn>
                <a:cxn ang="0">
                  <a:pos x="2515" y="1709"/>
                </a:cxn>
                <a:cxn ang="0">
                  <a:pos x="2527" y="1981"/>
                </a:cxn>
                <a:cxn ang="0">
                  <a:pos x="2432" y="2332"/>
                </a:cxn>
                <a:cxn ang="0">
                  <a:pos x="2515" y="2407"/>
                </a:cxn>
                <a:cxn ang="0">
                  <a:pos x="2290" y="2796"/>
                </a:cxn>
                <a:cxn ang="0">
                  <a:pos x="1758" y="2757"/>
                </a:cxn>
                <a:cxn ang="0">
                  <a:pos x="1569" y="2825"/>
                </a:cxn>
                <a:cxn ang="0">
                  <a:pos x="1088" y="3088"/>
                </a:cxn>
                <a:cxn ang="0">
                  <a:pos x="833" y="3136"/>
                </a:cxn>
                <a:cxn ang="0">
                  <a:pos x="218" y="2871"/>
                </a:cxn>
                <a:cxn ang="0">
                  <a:pos x="95" y="2844"/>
                </a:cxn>
                <a:cxn ang="0">
                  <a:pos x="103" y="2718"/>
                </a:cxn>
                <a:cxn ang="0">
                  <a:pos x="9" y="2568"/>
                </a:cxn>
                <a:cxn ang="0">
                  <a:pos x="56" y="2075"/>
                </a:cxn>
                <a:cxn ang="0">
                  <a:pos x="418" y="1623"/>
                </a:cxn>
                <a:cxn ang="0">
                  <a:pos x="718" y="1252"/>
                </a:cxn>
                <a:cxn ang="0">
                  <a:pos x="833" y="1237"/>
                </a:cxn>
                <a:cxn ang="0">
                  <a:pos x="1049" y="543"/>
                </a:cxn>
                <a:cxn ang="0">
                  <a:pos x="1380" y="0"/>
                </a:cxn>
                <a:cxn ang="0">
                  <a:pos x="1695" y="305"/>
                </a:cxn>
                <a:cxn ang="0">
                  <a:pos x="1962" y="227"/>
                </a:cxn>
                <a:cxn ang="0">
                  <a:pos x="2139" y="266"/>
                </a:cxn>
                <a:cxn ang="0">
                  <a:pos x="2356" y="217"/>
                </a:cxn>
                <a:cxn ang="0">
                  <a:pos x="2504" y="335"/>
                </a:cxn>
                <a:cxn ang="0">
                  <a:pos x="2927" y="266"/>
                </a:cxn>
                <a:cxn ang="0">
                  <a:pos x="3048" y="279"/>
                </a:cxn>
              </a:cxnLst>
              <a:rect l="0" t="0" r="r" b="b"/>
              <a:pathLst>
                <a:path w="3150" h="3211">
                  <a:moveTo>
                    <a:pt x="3048" y="279"/>
                  </a:moveTo>
                  <a:lnTo>
                    <a:pt x="3094" y="347"/>
                  </a:lnTo>
                  <a:lnTo>
                    <a:pt x="3075" y="374"/>
                  </a:lnTo>
                  <a:lnTo>
                    <a:pt x="3102" y="516"/>
                  </a:lnTo>
                  <a:lnTo>
                    <a:pt x="3027" y="591"/>
                  </a:lnTo>
                  <a:lnTo>
                    <a:pt x="3000" y="717"/>
                  </a:lnTo>
                  <a:lnTo>
                    <a:pt x="3130" y="941"/>
                  </a:lnTo>
                  <a:lnTo>
                    <a:pt x="3150" y="1111"/>
                  </a:lnTo>
                  <a:lnTo>
                    <a:pt x="3094" y="1237"/>
                  </a:lnTo>
                  <a:lnTo>
                    <a:pt x="2988" y="1237"/>
                  </a:lnTo>
                  <a:lnTo>
                    <a:pt x="2932" y="1150"/>
                  </a:lnTo>
                  <a:lnTo>
                    <a:pt x="2866" y="1150"/>
                  </a:lnTo>
                  <a:lnTo>
                    <a:pt x="2858" y="1252"/>
                  </a:lnTo>
                  <a:lnTo>
                    <a:pt x="2735" y="1284"/>
                  </a:lnTo>
                  <a:lnTo>
                    <a:pt x="2704" y="1426"/>
                  </a:lnTo>
                  <a:lnTo>
                    <a:pt x="2716" y="1528"/>
                  </a:lnTo>
                  <a:lnTo>
                    <a:pt x="2716" y="1643"/>
                  </a:lnTo>
                  <a:lnTo>
                    <a:pt x="2515" y="1709"/>
                  </a:lnTo>
                  <a:lnTo>
                    <a:pt x="2480" y="1934"/>
                  </a:lnTo>
                  <a:lnTo>
                    <a:pt x="2527" y="1981"/>
                  </a:lnTo>
                  <a:lnTo>
                    <a:pt x="2574" y="2116"/>
                  </a:lnTo>
                  <a:lnTo>
                    <a:pt x="2432" y="2332"/>
                  </a:lnTo>
                  <a:lnTo>
                    <a:pt x="2441" y="2371"/>
                  </a:lnTo>
                  <a:lnTo>
                    <a:pt x="2515" y="2407"/>
                  </a:lnTo>
                  <a:lnTo>
                    <a:pt x="2507" y="2623"/>
                  </a:lnTo>
                  <a:lnTo>
                    <a:pt x="2290" y="2796"/>
                  </a:lnTo>
                  <a:lnTo>
                    <a:pt x="2082" y="2777"/>
                  </a:lnTo>
                  <a:lnTo>
                    <a:pt x="1758" y="2757"/>
                  </a:lnTo>
                  <a:lnTo>
                    <a:pt x="1637" y="2859"/>
                  </a:lnTo>
                  <a:lnTo>
                    <a:pt x="1569" y="2825"/>
                  </a:lnTo>
                  <a:lnTo>
                    <a:pt x="1222" y="2891"/>
                  </a:lnTo>
                  <a:lnTo>
                    <a:pt x="1088" y="3088"/>
                  </a:lnTo>
                  <a:lnTo>
                    <a:pt x="947" y="3211"/>
                  </a:lnTo>
                  <a:lnTo>
                    <a:pt x="833" y="3136"/>
                  </a:lnTo>
                  <a:lnTo>
                    <a:pt x="529" y="3014"/>
                  </a:lnTo>
                  <a:lnTo>
                    <a:pt x="218" y="2871"/>
                  </a:lnTo>
                  <a:lnTo>
                    <a:pt x="123" y="2871"/>
                  </a:lnTo>
                  <a:lnTo>
                    <a:pt x="95" y="2844"/>
                  </a:lnTo>
                  <a:lnTo>
                    <a:pt x="150" y="2757"/>
                  </a:lnTo>
                  <a:lnTo>
                    <a:pt x="103" y="2718"/>
                  </a:lnTo>
                  <a:lnTo>
                    <a:pt x="29" y="2718"/>
                  </a:lnTo>
                  <a:lnTo>
                    <a:pt x="9" y="2568"/>
                  </a:lnTo>
                  <a:lnTo>
                    <a:pt x="0" y="2293"/>
                  </a:lnTo>
                  <a:lnTo>
                    <a:pt x="56" y="2075"/>
                  </a:lnTo>
                  <a:lnTo>
                    <a:pt x="257" y="1859"/>
                  </a:lnTo>
                  <a:lnTo>
                    <a:pt x="418" y="1623"/>
                  </a:lnTo>
                  <a:lnTo>
                    <a:pt x="541" y="1584"/>
                  </a:lnTo>
                  <a:lnTo>
                    <a:pt x="718" y="1252"/>
                  </a:lnTo>
                  <a:lnTo>
                    <a:pt x="785" y="1218"/>
                  </a:lnTo>
                  <a:lnTo>
                    <a:pt x="833" y="1237"/>
                  </a:lnTo>
                  <a:lnTo>
                    <a:pt x="954" y="1016"/>
                  </a:lnTo>
                  <a:lnTo>
                    <a:pt x="1049" y="543"/>
                  </a:lnTo>
                  <a:lnTo>
                    <a:pt x="1163" y="327"/>
                  </a:lnTo>
                  <a:lnTo>
                    <a:pt x="1380" y="0"/>
                  </a:lnTo>
                  <a:lnTo>
                    <a:pt x="1557" y="9"/>
                  </a:lnTo>
                  <a:lnTo>
                    <a:pt x="1695" y="305"/>
                  </a:lnTo>
                  <a:lnTo>
                    <a:pt x="1774" y="177"/>
                  </a:lnTo>
                  <a:lnTo>
                    <a:pt x="1962" y="227"/>
                  </a:lnTo>
                  <a:lnTo>
                    <a:pt x="2011" y="344"/>
                  </a:lnTo>
                  <a:lnTo>
                    <a:pt x="2139" y="266"/>
                  </a:lnTo>
                  <a:lnTo>
                    <a:pt x="2366" y="305"/>
                  </a:lnTo>
                  <a:lnTo>
                    <a:pt x="2356" y="217"/>
                  </a:lnTo>
                  <a:lnTo>
                    <a:pt x="2414" y="217"/>
                  </a:lnTo>
                  <a:lnTo>
                    <a:pt x="2504" y="335"/>
                  </a:lnTo>
                  <a:lnTo>
                    <a:pt x="2868" y="374"/>
                  </a:lnTo>
                  <a:lnTo>
                    <a:pt x="2927" y="266"/>
                  </a:lnTo>
                  <a:lnTo>
                    <a:pt x="3048" y="279"/>
                  </a:lnTo>
                  <a:lnTo>
                    <a:pt x="3048" y="279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id="{19BD5F13-E700-4EBD-9DCC-AB7A9567E42B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5799" y="1841565"/>
              <a:ext cx="672782" cy="896477"/>
            </a:xfrm>
            <a:custGeom>
              <a:avLst/>
              <a:gdLst/>
              <a:ahLst/>
              <a:cxnLst>
                <a:cxn ang="0">
                  <a:pos x="1952" y="3474"/>
                </a:cxn>
                <a:cxn ang="0">
                  <a:pos x="1831" y="3461"/>
                </a:cxn>
                <a:cxn ang="0">
                  <a:pos x="1772" y="3569"/>
                </a:cxn>
                <a:cxn ang="0">
                  <a:pos x="1408" y="3530"/>
                </a:cxn>
                <a:cxn ang="0">
                  <a:pos x="1318" y="3412"/>
                </a:cxn>
                <a:cxn ang="0">
                  <a:pos x="1260" y="3412"/>
                </a:cxn>
                <a:cxn ang="0">
                  <a:pos x="1270" y="3500"/>
                </a:cxn>
                <a:cxn ang="0">
                  <a:pos x="1043" y="3461"/>
                </a:cxn>
                <a:cxn ang="0">
                  <a:pos x="915" y="3539"/>
                </a:cxn>
                <a:cxn ang="0">
                  <a:pos x="866" y="3422"/>
                </a:cxn>
                <a:cxn ang="0">
                  <a:pos x="678" y="3372"/>
                </a:cxn>
                <a:cxn ang="0">
                  <a:pos x="599" y="3500"/>
                </a:cxn>
                <a:cxn ang="0">
                  <a:pos x="461" y="3204"/>
                </a:cxn>
                <a:cxn ang="0">
                  <a:pos x="284" y="3195"/>
                </a:cxn>
                <a:cxn ang="0">
                  <a:pos x="67" y="3522"/>
                </a:cxn>
                <a:cxn ang="0">
                  <a:pos x="0" y="3297"/>
                </a:cxn>
                <a:cxn ang="0">
                  <a:pos x="0" y="2711"/>
                </a:cxn>
                <a:cxn ang="0">
                  <a:pos x="189" y="2116"/>
                </a:cxn>
                <a:cxn ang="0">
                  <a:pos x="398" y="1765"/>
                </a:cxn>
                <a:cxn ang="0">
                  <a:pos x="587" y="1517"/>
                </a:cxn>
                <a:cxn ang="0">
                  <a:pos x="674" y="1198"/>
                </a:cxn>
                <a:cxn ang="0">
                  <a:pos x="627" y="1076"/>
                </a:cxn>
                <a:cxn ang="0">
                  <a:pos x="694" y="875"/>
                </a:cxn>
                <a:cxn ang="0">
                  <a:pos x="694" y="808"/>
                </a:cxn>
                <a:cxn ang="0">
                  <a:pos x="852" y="713"/>
                </a:cxn>
                <a:cxn ang="0">
                  <a:pos x="1053" y="489"/>
                </a:cxn>
                <a:cxn ang="0">
                  <a:pos x="1136" y="194"/>
                </a:cxn>
                <a:cxn ang="0">
                  <a:pos x="1061" y="138"/>
                </a:cxn>
                <a:cxn ang="0">
                  <a:pos x="930" y="111"/>
                </a:cxn>
                <a:cxn ang="0">
                  <a:pos x="1043" y="0"/>
                </a:cxn>
                <a:cxn ang="0">
                  <a:pos x="1182" y="72"/>
                </a:cxn>
                <a:cxn ang="0">
                  <a:pos x="1297" y="72"/>
                </a:cxn>
                <a:cxn ang="0">
                  <a:pos x="1459" y="233"/>
                </a:cxn>
                <a:cxn ang="0">
                  <a:pos x="1478" y="667"/>
                </a:cxn>
                <a:cxn ang="0">
                  <a:pos x="1411" y="847"/>
                </a:cxn>
                <a:cxn ang="0">
                  <a:pos x="1345" y="915"/>
                </a:cxn>
                <a:cxn ang="0">
                  <a:pos x="1439" y="970"/>
                </a:cxn>
                <a:cxn ang="0">
                  <a:pos x="1459" y="1065"/>
                </a:cxn>
                <a:cxn ang="0">
                  <a:pos x="1648" y="1301"/>
                </a:cxn>
                <a:cxn ang="0">
                  <a:pos x="1797" y="1265"/>
                </a:cxn>
                <a:cxn ang="0">
                  <a:pos x="1877" y="1313"/>
                </a:cxn>
                <a:cxn ang="0">
                  <a:pos x="1877" y="1442"/>
                </a:cxn>
                <a:cxn ang="0">
                  <a:pos x="1734" y="1509"/>
                </a:cxn>
                <a:cxn ang="0">
                  <a:pos x="1627" y="1745"/>
                </a:cxn>
                <a:cxn ang="0">
                  <a:pos x="1734" y="1907"/>
                </a:cxn>
                <a:cxn ang="0">
                  <a:pos x="1836" y="2010"/>
                </a:cxn>
                <a:cxn ang="0">
                  <a:pos x="1809" y="2056"/>
                </a:cxn>
                <a:cxn ang="0">
                  <a:pos x="1904" y="2265"/>
                </a:cxn>
                <a:cxn ang="0">
                  <a:pos x="2101" y="2321"/>
                </a:cxn>
                <a:cxn ang="0">
                  <a:pos x="2191" y="2348"/>
                </a:cxn>
                <a:cxn ang="0">
                  <a:pos x="1911" y="2597"/>
                </a:cxn>
                <a:cxn ang="0">
                  <a:pos x="1923" y="2643"/>
                </a:cxn>
                <a:cxn ang="0">
                  <a:pos x="1829" y="2758"/>
                </a:cxn>
                <a:cxn ang="0">
                  <a:pos x="1857" y="2840"/>
                </a:cxn>
                <a:cxn ang="0">
                  <a:pos x="2006" y="2935"/>
                </a:cxn>
                <a:cxn ang="0">
                  <a:pos x="1959" y="3002"/>
                </a:cxn>
                <a:cxn ang="0">
                  <a:pos x="1986" y="3069"/>
                </a:cxn>
                <a:cxn ang="0">
                  <a:pos x="1911" y="3163"/>
                </a:cxn>
                <a:cxn ang="0">
                  <a:pos x="1904" y="3286"/>
                </a:cxn>
                <a:cxn ang="0">
                  <a:pos x="1998" y="3345"/>
                </a:cxn>
                <a:cxn ang="0">
                  <a:pos x="1952" y="3474"/>
                </a:cxn>
                <a:cxn ang="0">
                  <a:pos x="1952" y="3474"/>
                </a:cxn>
              </a:cxnLst>
              <a:rect l="0" t="0" r="r" b="b"/>
              <a:pathLst>
                <a:path w="2191" h="3569">
                  <a:moveTo>
                    <a:pt x="1952" y="3474"/>
                  </a:moveTo>
                  <a:lnTo>
                    <a:pt x="1831" y="3461"/>
                  </a:lnTo>
                  <a:lnTo>
                    <a:pt x="1772" y="3569"/>
                  </a:lnTo>
                  <a:lnTo>
                    <a:pt x="1408" y="3530"/>
                  </a:lnTo>
                  <a:lnTo>
                    <a:pt x="1318" y="3412"/>
                  </a:lnTo>
                  <a:lnTo>
                    <a:pt x="1260" y="3412"/>
                  </a:lnTo>
                  <a:lnTo>
                    <a:pt x="1270" y="3500"/>
                  </a:lnTo>
                  <a:lnTo>
                    <a:pt x="1043" y="3461"/>
                  </a:lnTo>
                  <a:lnTo>
                    <a:pt x="915" y="3539"/>
                  </a:lnTo>
                  <a:lnTo>
                    <a:pt x="866" y="3422"/>
                  </a:lnTo>
                  <a:lnTo>
                    <a:pt x="678" y="3372"/>
                  </a:lnTo>
                  <a:lnTo>
                    <a:pt x="599" y="3500"/>
                  </a:lnTo>
                  <a:lnTo>
                    <a:pt x="461" y="3204"/>
                  </a:lnTo>
                  <a:lnTo>
                    <a:pt x="284" y="3195"/>
                  </a:lnTo>
                  <a:lnTo>
                    <a:pt x="67" y="3522"/>
                  </a:lnTo>
                  <a:lnTo>
                    <a:pt x="0" y="3297"/>
                  </a:lnTo>
                  <a:lnTo>
                    <a:pt x="0" y="2711"/>
                  </a:lnTo>
                  <a:lnTo>
                    <a:pt x="189" y="2116"/>
                  </a:lnTo>
                  <a:lnTo>
                    <a:pt x="398" y="1765"/>
                  </a:lnTo>
                  <a:lnTo>
                    <a:pt x="587" y="1517"/>
                  </a:lnTo>
                  <a:lnTo>
                    <a:pt x="674" y="1198"/>
                  </a:lnTo>
                  <a:lnTo>
                    <a:pt x="627" y="1076"/>
                  </a:lnTo>
                  <a:lnTo>
                    <a:pt x="694" y="875"/>
                  </a:lnTo>
                  <a:lnTo>
                    <a:pt x="694" y="808"/>
                  </a:lnTo>
                  <a:lnTo>
                    <a:pt x="852" y="713"/>
                  </a:lnTo>
                  <a:lnTo>
                    <a:pt x="1053" y="489"/>
                  </a:lnTo>
                  <a:lnTo>
                    <a:pt x="1136" y="194"/>
                  </a:lnTo>
                  <a:lnTo>
                    <a:pt x="1061" y="138"/>
                  </a:lnTo>
                  <a:lnTo>
                    <a:pt x="930" y="111"/>
                  </a:lnTo>
                  <a:lnTo>
                    <a:pt x="1043" y="0"/>
                  </a:lnTo>
                  <a:lnTo>
                    <a:pt x="1182" y="72"/>
                  </a:lnTo>
                  <a:lnTo>
                    <a:pt x="1297" y="72"/>
                  </a:lnTo>
                  <a:lnTo>
                    <a:pt x="1459" y="233"/>
                  </a:lnTo>
                  <a:lnTo>
                    <a:pt x="1478" y="667"/>
                  </a:lnTo>
                  <a:lnTo>
                    <a:pt x="1411" y="847"/>
                  </a:lnTo>
                  <a:lnTo>
                    <a:pt x="1345" y="915"/>
                  </a:lnTo>
                  <a:lnTo>
                    <a:pt x="1439" y="970"/>
                  </a:lnTo>
                  <a:lnTo>
                    <a:pt x="1459" y="1065"/>
                  </a:lnTo>
                  <a:lnTo>
                    <a:pt x="1648" y="1301"/>
                  </a:lnTo>
                  <a:lnTo>
                    <a:pt x="1797" y="1265"/>
                  </a:lnTo>
                  <a:lnTo>
                    <a:pt x="1877" y="1313"/>
                  </a:lnTo>
                  <a:lnTo>
                    <a:pt x="1877" y="1442"/>
                  </a:lnTo>
                  <a:lnTo>
                    <a:pt x="1734" y="1509"/>
                  </a:lnTo>
                  <a:lnTo>
                    <a:pt x="1627" y="1745"/>
                  </a:lnTo>
                  <a:lnTo>
                    <a:pt x="1734" y="1907"/>
                  </a:lnTo>
                  <a:lnTo>
                    <a:pt x="1836" y="2010"/>
                  </a:lnTo>
                  <a:lnTo>
                    <a:pt x="1809" y="2056"/>
                  </a:lnTo>
                  <a:lnTo>
                    <a:pt x="1904" y="2265"/>
                  </a:lnTo>
                  <a:lnTo>
                    <a:pt x="2101" y="2321"/>
                  </a:lnTo>
                  <a:lnTo>
                    <a:pt x="2191" y="2348"/>
                  </a:lnTo>
                  <a:lnTo>
                    <a:pt x="1911" y="2597"/>
                  </a:lnTo>
                  <a:lnTo>
                    <a:pt x="1923" y="2643"/>
                  </a:lnTo>
                  <a:lnTo>
                    <a:pt x="1829" y="2758"/>
                  </a:lnTo>
                  <a:lnTo>
                    <a:pt x="1857" y="2840"/>
                  </a:lnTo>
                  <a:lnTo>
                    <a:pt x="2006" y="2935"/>
                  </a:lnTo>
                  <a:lnTo>
                    <a:pt x="1959" y="3002"/>
                  </a:lnTo>
                  <a:lnTo>
                    <a:pt x="1986" y="3069"/>
                  </a:lnTo>
                  <a:lnTo>
                    <a:pt x="1911" y="3163"/>
                  </a:lnTo>
                  <a:lnTo>
                    <a:pt x="1904" y="3286"/>
                  </a:lnTo>
                  <a:lnTo>
                    <a:pt x="1998" y="3345"/>
                  </a:lnTo>
                  <a:lnTo>
                    <a:pt x="1952" y="3474"/>
                  </a:lnTo>
                  <a:lnTo>
                    <a:pt x="1952" y="3474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:a16="http://schemas.microsoft.com/office/drawing/2014/main" id="{CF93050F-07FF-4186-A76E-961F6887403B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871" y="2260849"/>
              <a:ext cx="1217820" cy="1107277"/>
            </a:xfrm>
            <a:custGeom>
              <a:avLst/>
              <a:gdLst/>
              <a:ahLst/>
              <a:cxnLst>
                <a:cxn ang="0">
                  <a:pos x="82" y="927"/>
                </a:cxn>
                <a:cxn ang="0">
                  <a:pos x="0" y="1088"/>
                </a:cxn>
                <a:cxn ang="0">
                  <a:pos x="177" y="1265"/>
                </a:cxn>
                <a:cxn ang="0">
                  <a:pos x="157" y="1399"/>
                </a:cxn>
                <a:cxn ang="0">
                  <a:pos x="75" y="1616"/>
                </a:cxn>
                <a:cxn ang="0">
                  <a:pos x="123" y="1804"/>
                </a:cxn>
                <a:cxn ang="0">
                  <a:pos x="150" y="1899"/>
                </a:cxn>
                <a:cxn ang="0">
                  <a:pos x="102" y="2116"/>
                </a:cxn>
                <a:cxn ang="0">
                  <a:pos x="205" y="2466"/>
                </a:cxn>
                <a:cxn ang="0">
                  <a:pos x="169" y="2762"/>
                </a:cxn>
                <a:cxn ang="0">
                  <a:pos x="378" y="2809"/>
                </a:cxn>
                <a:cxn ang="0">
                  <a:pos x="1095" y="2505"/>
                </a:cxn>
                <a:cxn ang="0">
                  <a:pos x="1104" y="2628"/>
                </a:cxn>
                <a:cxn ang="0">
                  <a:pos x="1324" y="2714"/>
                </a:cxn>
                <a:cxn ang="0">
                  <a:pos x="1541" y="2723"/>
                </a:cxn>
                <a:cxn ang="0">
                  <a:pos x="2022" y="2939"/>
                </a:cxn>
                <a:cxn ang="0">
                  <a:pos x="2203" y="3175"/>
                </a:cxn>
                <a:cxn ang="0">
                  <a:pos x="2506" y="3234"/>
                </a:cxn>
                <a:cxn ang="0">
                  <a:pos x="2807" y="3423"/>
                </a:cxn>
                <a:cxn ang="0">
                  <a:pos x="2657" y="3612"/>
                </a:cxn>
                <a:cxn ang="0">
                  <a:pos x="2494" y="3790"/>
                </a:cxn>
                <a:cxn ang="0">
                  <a:pos x="2460" y="3979"/>
                </a:cxn>
                <a:cxn ang="0">
                  <a:pos x="2570" y="4215"/>
                </a:cxn>
                <a:cxn ang="0">
                  <a:pos x="3035" y="4188"/>
                </a:cxn>
                <a:cxn ang="0">
                  <a:pos x="3216" y="3384"/>
                </a:cxn>
                <a:cxn ang="0">
                  <a:pos x="3177" y="2789"/>
                </a:cxn>
                <a:cxn ang="0">
                  <a:pos x="3204" y="2466"/>
                </a:cxn>
                <a:cxn ang="0">
                  <a:pos x="3224" y="2242"/>
                </a:cxn>
                <a:cxn ang="0">
                  <a:pos x="3346" y="2005"/>
                </a:cxn>
                <a:cxn ang="0">
                  <a:pos x="3433" y="1891"/>
                </a:cxn>
                <a:cxn ang="0">
                  <a:pos x="3548" y="2005"/>
                </a:cxn>
                <a:cxn ang="0">
                  <a:pos x="3961" y="1379"/>
                </a:cxn>
                <a:cxn ang="0">
                  <a:pos x="3764" y="1332"/>
                </a:cxn>
                <a:cxn ang="0">
                  <a:pos x="3799" y="1029"/>
                </a:cxn>
                <a:cxn ang="0">
                  <a:pos x="3811" y="698"/>
                </a:cxn>
                <a:cxn ang="0">
                  <a:pos x="3772" y="473"/>
                </a:cxn>
                <a:cxn ang="0">
                  <a:pos x="3582" y="189"/>
                </a:cxn>
                <a:cxn ang="0">
                  <a:pos x="3461" y="143"/>
                </a:cxn>
                <a:cxn ang="0">
                  <a:pos x="3184" y="0"/>
                </a:cxn>
                <a:cxn ang="0">
                  <a:pos x="2853" y="245"/>
                </a:cxn>
                <a:cxn ang="0">
                  <a:pos x="2751" y="312"/>
                </a:cxn>
                <a:cxn ang="0">
                  <a:pos x="2649" y="386"/>
                </a:cxn>
                <a:cxn ang="0">
                  <a:pos x="2570" y="304"/>
                </a:cxn>
                <a:cxn ang="0">
                  <a:pos x="2487" y="162"/>
                </a:cxn>
                <a:cxn ang="0">
                  <a:pos x="2360" y="31"/>
                </a:cxn>
                <a:cxn ang="0">
                  <a:pos x="2183" y="131"/>
                </a:cxn>
                <a:cxn ang="0">
                  <a:pos x="1899" y="292"/>
                </a:cxn>
                <a:cxn ang="0">
                  <a:pos x="1671" y="398"/>
                </a:cxn>
                <a:cxn ang="0">
                  <a:pos x="1466" y="320"/>
                </a:cxn>
                <a:cxn ang="0">
                  <a:pos x="1245" y="332"/>
                </a:cxn>
                <a:cxn ang="0">
                  <a:pos x="1076" y="823"/>
                </a:cxn>
                <a:cxn ang="0">
                  <a:pos x="772" y="934"/>
                </a:cxn>
                <a:cxn ang="0">
                  <a:pos x="425" y="698"/>
                </a:cxn>
                <a:cxn ang="0">
                  <a:pos x="362" y="678"/>
                </a:cxn>
              </a:cxnLst>
              <a:rect l="0" t="0" r="r" b="b"/>
              <a:pathLst>
                <a:path w="3961" h="4396">
                  <a:moveTo>
                    <a:pt x="362" y="678"/>
                  </a:moveTo>
                  <a:lnTo>
                    <a:pt x="82" y="927"/>
                  </a:lnTo>
                  <a:lnTo>
                    <a:pt x="94" y="973"/>
                  </a:lnTo>
                  <a:lnTo>
                    <a:pt x="0" y="1088"/>
                  </a:lnTo>
                  <a:lnTo>
                    <a:pt x="28" y="1170"/>
                  </a:lnTo>
                  <a:lnTo>
                    <a:pt x="177" y="1265"/>
                  </a:lnTo>
                  <a:lnTo>
                    <a:pt x="130" y="1332"/>
                  </a:lnTo>
                  <a:lnTo>
                    <a:pt x="157" y="1399"/>
                  </a:lnTo>
                  <a:lnTo>
                    <a:pt x="82" y="1493"/>
                  </a:lnTo>
                  <a:lnTo>
                    <a:pt x="75" y="1616"/>
                  </a:lnTo>
                  <a:lnTo>
                    <a:pt x="169" y="1675"/>
                  </a:lnTo>
                  <a:lnTo>
                    <a:pt x="123" y="1804"/>
                  </a:lnTo>
                  <a:lnTo>
                    <a:pt x="169" y="1872"/>
                  </a:lnTo>
                  <a:lnTo>
                    <a:pt x="150" y="1899"/>
                  </a:lnTo>
                  <a:lnTo>
                    <a:pt x="177" y="2041"/>
                  </a:lnTo>
                  <a:lnTo>
                    <a:pt x="102" y="2116"/>
                  </a:lnTo>
                  <a:lnTo>
                    <a:pt x="75" y="2242"/>
                  </a:lnTo>
                  <a:lnTo>
                    <a:pt x="205" y="2466"/>
                  </a:lnTo>
                  <a:lnTo>
                    <a:pt x="225" y="2636"/>
                  </a:lnTo>
                  <a:lnTo>
                    <a:pt x="169" y="2762"/>
                  </a:lnTo>
                  <a:lnTo>
                    <a:pt x="157" y="2884"/>
                  </a:lnTo>
                  <a:lnTo>
                    <a:pt x="378" y="2809"/>
                  </a:lnTo>
                  <a:lnTo>
                    <a:pt x="879" y="2494"/>
                  </a:lnTo>
                  <a:lnTo>
                    <a:pt x="1095" y="2505"/>
                  </a:lnTo>
                  <a:lnTo>
                    <a:pt x="1136" y="2541"/>
                  </a:lnTo>
                  <a:lnTo>
                    <a:pt x="1104" y="2628"/>
                  </a:lnTo>
                  <a:lnTo>
                    <a:pt x="1210" y="2714"/>
                  </a:lnTo>
                  <a:lnTo>
                    <a:pt x="1324" y="2714"/>
                  </a:lnTo>
                  <a:lnTo>
                    <a:pt x="1387" y="2675"/>
                  </a:lnTo>
                  <a:lnTo>
                    <a:pt x="1541" y="2723"/>
                  </a:lnTo>
                  <a:lnTo>
                    <a:pt x="1813" y="2920"/>
                  </a:lnTo>
                  <a:lnTo>
                    <a:pt x="2022" y="2939"/>
                  </a:lnTo>
                  <a:lnTo>
                    <a:pt x="2164" y="3081"/>
                  </a:lnTo>
                  <a:lnTo>
                    <a:pt x="2203" y="3175"/>
                  </a:lnTo>
                  <a:lnTo>
                    <a:pt x="2251" y="3214"/>
                  </a:lnTo>
                  <a:lnTo>
                    <a:pt x="2506" y="3234"/>
                  </a:lnTo>
                  <a:lnTo>
                    <a:pt x="2744" y="3357"/>
                  </a:lnTo>
                  <a:lnTo>
                    <a:pt x="2807" y="3423"/>
                  </a:lnTo>
                  <a:lnTo>
                    <a:pt x="2771" y="3518"/>
                  </a:lnTo>
                  <a:lnTo>
                    <a:pt x="2657" y="3612"/>
                  </a:lnTo>
                  <a:lnTo>
                    <a:pt x="2601" y="3723"/>
                  </a:lnTo>
                  <a:lnTo>
                    <a:pt x="2494" y="3790"/>
                  </a:lnTo>
                  <a:lnTo>
                    <a:pt x="2460" y="3904"/>
                  </a:lnTo>
                  <a:lnTo>
                    <a:pt x="2460" y="3979"/>
                  </a:lnTo>
                  <a:lnTo>
                    <a:pt x="2581" y="4121"/>
                  </a:lnTo>
                  <a:lnTo>
                    <a:pt x="2570" y="4215"/>
                  </a:lnTo>
                  <a:lnTo>
                    <a:pt x="2807" y="4396"/>
                  </a:lnTo>
                  <a:lnTo>
                    <a:pt x="3035" y="4188"/>
                  </a:lnTo>
                  <a:lnTo>
                    <a:pt x="3026" y="3932"/>
                  </a:lnTo>
                  <a:lnTo>
                    <a:pt x="3216" y="3384"/>
                  </a:lnTo>
                  <a:lnTo>
                    <a:pt x="3184" y="3262"/>
                  </a:lnTo>
                  <a:lnTo>
                    <a:pt x="3177" y="2789"/>
                  </a:lnTo>
                  <a:lnTo>
                    <a:pt x="3232" y="2588"/>
                  </a:lnTo>
                  <a:lnTo>
                    <a:pt x="3204" y="2466"/>
                  </a:lnTo>
                  <a:lnTo>
                    <a:pt x="3252" y="2337"/>
                  </a:lnTo>
                  <a:lnTo>
                    <a:pt x="3224" y="2242"/>
                  </a:lnTo>
                  <a:lnTo>
                    <a:pt x="3339" y="2100"/>
                  </a:lnTo>
                  <a:lnTo>
                    <a:pt x="3346" y="2005"/>
                  </a:lnTo>
                  <a:lnTo>
                    <a:pt x="3405" y="1879"/>
                  </a:lnTo>
                  <a:lnTo>
                    <a:pt x="3433" y="1891"/>
                  </a:lnTo>
                  <a:lnTo>
                    <a:pt x="3480" y="2013"/>
                  </a:lnTo>
                  <a:lnTo>
                    <a:pt x="3548" y="2005"/>
                  </a:lnTo>
                  <a:lnTo>
                    <a:pt x="3847" y="1643"/>
                  </a:lnTo>
                  <a:lnTo>
                    <a:pt x="3961" y="1379"/>
                  </a:lnTo>
                  <a:lnTo>
                    <a:pt x="3847" y="1399"/>
                  </a:lnTo>
                  <a:lnTo>
                    <a:pt x="3764" y="1332"/>
                  </a:lnTo>
                  <a:lnTo>
                    <a:pt x="3650" y="1048"/>
                  </a:lnTo>
                  <a:lnTo>
                    <a:pt x="3799" y="1029"/>
                  </a:lnTo>
                  <a:lnTo>
                    <a:pt x="3859" y="777"/>
                  </a:lnTo>
                  <a:lnTo>
                    <a:pt x="3811" y="698"/>
                  </a:lnTo>
                  <a:lnTo>
                    <a:pt x="3764" y="548"/>
                  </a:lnTo>
                  <a:lnTo>
                    <a:pt x="3772" y="473"/>
                  </a:lnTo>
                  <a:lnTo>
                    <a:pt x="3704" y="359"/>
                  </a:lnTo>
                  <a:lnTo>
                    <a:pt x="3582" y="189"/>
                  </a:lnTo>
                  <a:lnTo>
                    <a:pt x="3516" y="218"/>
                  </a:lnTo>
                  <a:lnTo>
                    <a:pt x="3461" y="143"/>
                  </a:lnTo>
                  <a:lnTo>
                    <a:pt x="3298" y="95"/>
                  </a:lnTo>
                  <a:lnTo>
                    <a:pt x="3184" y="0"/>
                  </a:lnTo>
                  <a:lnTo>
                    <a:pt x="2932" y="198"/>
                  </a:lnTo>
                  <a:lnTo>
                    <a:pt x="2853" y="245"/>
                  </a:lnTo>
                  <a:lnTo>
                    <a:pt x="2818" y="237"/>
                  </a:lnTo>
                  <a:lnTo>
                    <a:pt x="2751" y="312"/>
                  </a:lnTo>
                  <a:lnTo>
                    <a:pt x="2723" y="367"/>
                  </a:lnTo>
                  <a:lnTo>
                    <a:pt x="2649" y="386"/>
                  </a:lnTo>
                  <a:lnTo>
                    <a:pt x="2581" y="379"/>
                  </a:lnTo>
                  <a:lnTo>
                    <a:pt x="2570" y="304"/>
                  </a:lnTo>
                  <a:lnTo>
                    <a:pt x="2494" y="218"/>
                  </a:lnTo>
                  <a:lnTo>
                    <a:pt x="2487" y="162"/>
                  </a:lnTo>
                  <a:lnTo>
                    <a:pt x="2460" y="83"/>
                  </a:lnTo>
                  <a:lnTo>
                    <a:pt x="2360" y="31"/>
                  </a:lnTo>
                  <a:lnTo>
                    <a:pt x="2286" y="95"/>
                  </a:lnTo>
                  <a:lnTo>
                    <a:pt x="2183" y="131"/>
                  </a:lnTo>
                  <a:lnTo>
                    <a:pt x="2081" y="272"/>
                  </a:lnTo>
                  <a:lnTo>
                    <a:pt x="1899" y="292"/>
                  </a:lnTo>
                  <a:lnTo>
                    <a:pt x="1785" y="379"/>
                  </a:lnTo>
                  <a:lnTo>
                    <a:pt x="1671" y="398"/>
                  </a:lnTo>
                  <a:lnTo>
                    <a:pt x="1561" y="320"/>
                  </a:lnTo>
                  <a:lnTo>
                    <a:pt x="1466" y="320"/>
                  </a:lnTo>
                  <a:lnTo>
                    <a:pt x="1340" y="284"/>
                  </a:lnTo>
                  <a:lnTo>
                    <a:pt x="1245" y="332"/>
                  </a:lnTo>
                  <a:lnTo>
                    <a:pt x="1245" y="595"/>
                  </a:lnTo>
                  <a:lnTo>
                    <a:pt x="1076" y="823"/>
                  </a:lnTo>
                  <a:lnTo>
                    <a:pt x="898" y="852"/>
                  </a:lnTo>
                  <a:lnTo>
                    <a:pt x="772" y="934"/>
                  </a:lnTo>
                  <a:lnTo>
                    <a:pt x="643" y="946"/>
                  </a:lnTo>
                  <a:lnTo>
                    <a:pt x="425" y="698"/>
                  </a:lnTo>
                  <a:lnTo>
                    <a:pt x="362" y="678"/>
                  </a:lnTo>
                  <a:lnTo>
                    <a:pt x="362" y="678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:a16="http://schemas.microsoft.com/office/drawing/2014/main" id="{C65F973A-BBF8-4B8B-8898-9761563023D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9175" y="2378990"/>
              <a:ext cx="244132" cy="233965"/>
            </a:xfrm>
            <a:custGeom>
              <a:avLst/>
              <a:gdLst/>
              <a:ahLst/>
              <a:cxnLst>
                <a:cxn ang="0">
                  <a:pos x="311" y="906"/>
                </a:cxn>
                <a:cxn ang="0">
                  <a:pos x="452" y="729"/>
                </a:cxn>
                <a:cxn ang="0">
                  <a:pos x="717" y="548"/>
                </a:cxn>
                <a:cxn ang="0">
                  <a:pos x="791" y="477"/>
                </a:cxn>
                <a:cxn ang="0">
                  <a:pos x="791" y="475"/>
                </a:cxn>
                <a:cxn ang="0">
                  <a:pos x="607" y="292"/>
                </a:cxn>
                <a:cxn ang="0">
                  <a:pos x="122" y="0"/>
                </a:cxn>
                <a:cxn ang="0">
                  <a:pos x="114" y="75"/>
                </a:cxn>
                <a:cxn ang="0">
                  <a:pos x="161" y="225"/>
                </a:cxn>
                <a:cxn ang="0">
                  <a:pos x="209" y="304"/>
                </a:cxn>
                <a:cxn ang="0">
                  <a:pos x="149" y="556"/>
                </a:cxn>
                <a:cxn ang="0">
                  <a:pos x="0" y="575"/>
                </a:cxn>
                <a:cxn ang="0">
                  <a:pos x="114" y="859"/>
                </a:cxn>
                <a:cxn ang="0">
                  <a:pos x="197" y="926"/>
                </a:cxn>
                <a:cxn ang="0">
                  <a:pos x="311" y="906"/>
                </a:cxn>
                <a:cxn ang="0">
                  <a:pos x="311" y="906"/>
                </a:cxn>
              </a:cxnLst>
              <a:rect l="0" t="0" r="r" b="b"/>
              <a:pathLst>
                <a:path w="791" h="926">
                  <a:moveTo>
                    <a:pt x="311" y="906"/>
                  </a:moveTo>
                  <a:lnTo>
                    <a:pt x="452" y="729"/>
                  </a:lnTo>
                  <a:lnTo>
                    <a:pt x="717" y="548"/>
                  </a:lnTo>
                  <a:lnTo>
                    <a:pt x="791" y="477"/>
                  </a:lnTo>
                  <a:lnTo>
                    <a:pt x="791" y="475"/>
                  </a:lnTo>
                  <a:lnTo>
                    <a:pt x="607" y="292"/>
                  </a:lnTo>
                  <a:lnTo>
                    <a:pt x="122" y="0"/>
                  </a:lnTo>
                  <a:lnTo>
                    <a:pt x="114" y="75"/>
                  </a:lnTo>
                  <a:lnTo>
                    <a:pt x="161" y="225"/>
                  </a:lnTo>
                  <a:lnTo>
                    <a:pt x="209" y="304"/>
                  </a:lnTo>
                  <a:lnTo>
                    <a:pt x="149" y="556"/>
                  </a:lnTo>
                  <a:lnTo>
                    <a:pt x="0" y="575"/>
                  </a:lnTo>
                  <a:lnTo>
                    <a:pt x="114" y="859"/>
                  </a:lnTo>
                  <a:lnTo>
                    <a:pt x="197" y="926"/>
                  </a:lnTo>
                  <a:lnTo>
                    <a:pt x="311" y="906"/>
                  </a:lnTo>
                  <a:lnTo>
                    <a:pt x="311" y="906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id="{24B18F15-209C-4312-9C68-F8AD0E170B10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1750" y="2121860"/>
              <a:ext cx="877173" cy="243230"/>
            </a:xfrm>
            <a:custGeom>
              <a:avLst/>
              <a:gdLst/>
              <a:ahLst/>
              <a:cxnLst>
                <a:cxn ang="0">
                  <a:pos x="1147" y="159"/>
                </a:cxn>
                <a:cxn ang="0">
                  <a:pos x="998" y="254"/>
                </a:cxn>
                <a:cxn ang="0">
                  <a:pos x="789" y="48"/>
                </a:cxn>
                <a:cxn ang="0">
                  <a:pos x="307" y="0"/>
                </a:cxn>
                <a:cxn ang="0">
                  <a:pos x="277" y="84"/>
                </a:cxn>
                <a:cxn ang="0">
                  <a:pos x="324" y="218"/>
                </a:cxn>
                <a:cxn ang="0">
                  <a:pos x="229" y="427"/>
                </a:cxn>
                <a:cxn ang="0">
                  <a:pos x="134" y="462"/>
                </a:cxn>
                <a:cxn ang="0">
                  <a:pos x="0" y="579"/>
                </a:cxn>
                <a:cxn ang="0">
                  <a:pos x="100" y="631"/>
                </a:cxn>
                <a:cxn ang="0">
                  <a:pos x="127" y="710"/>
                </a:cxn>
                <a:cxn ang="0">
                  <a:pos x="134" y="766"/>
                </a:cxn>
                <a:cxn ang="0">
                  <a:pos x="210" y="852"/>
                </a:cxn>
                <a:cxn ang="0">
                  <a:pos x="221" y="927"/>
                </a:cxn>
                <a:cxn ang="0">
                  <a:pos x="289" y="934"/>
                </a:cxn>
                <a:cxn ang="0">
                  <a:pos x="363" y="915"/>
                </a:cxn>
                <a:cxn ang="0">
                  <a:pos x="391" y="860"/>
                </a:cxn>
                <a:cxn ang="0">
                  <a:pos x="458" y="785"/>
                </a:cxn>
                <a:cxn ang="0">
                  <a:pos x="493" y="793"/>
                </a:cxn>
                <a:cxn ang="0">
                  <a:pos x="572" y="746"/>
                </a:cxn>
                <a:cxn ang="0">
                  <a:pos x="824" y="548"/>
                </a:cxn>
                <a:cxn ang="0">
                  <a:pos x="938" y="643"/>
                </a:cxn>
                <a:cxn ang="0">
                  <a:pos x="1101" y="691"/>
                </a:cxn>
                <a:cxn ang="0">
                  <a:pos x="1156" y="766"/>
                </a:cxn>
                <a:cxn ang="0">
                  <a:pos x="1222" y="737"/>
                </a:cxn>
                <a:cxn ang="0">
                  <a:pos x="1344" y="907"/>
                </a:cxn>
                <a:cxn ang="0">
                  <a:pos x="1534" y="766"/>
                </a:cxn>
                <a:cxn ang="0">
                  <a:pos x="1754" y="907"/>
                </a:cxn>
                <a:cxn ang="0">
                  <a:pos x="1830" y="963"/>
                </a:cxn>
                <a:cxn ang="0">
                  <a:pos x="2141" y="934"/>
                </a:cxn>
                <a:cxn ang="0">
                  <a:pos x="2283" y="820"/>
                </a:cxn>
                <a:cxn ang="0">
                  <a:pos x="2641" y="840"/>
                </a:cxn>
                <a:cxn ang="0">
                  <a:pos x="2796" y="509"/>
                </a:cxn>
                <a:cxn ang="0">
                  <a:pos x="2803" y="285"/>
                </a:cxn>
                <a:cxn ang="0">
                  <a:pos x="2842" y="76"/>
                </a:cxn>
                <a:cxn ang="0">
                  <a:pos x="2622" y="143"/>
                </a:cxn>
                <a:cxn ang="0">
                  <a:pos x="2500" y="254"/>
                </a:cxn>
                <a:cxn ang="0">
                  <a:pos x="2086" y="360"/>
                </a:cxn>
                <a:cxn ang="0">
                  <a:pos x="1971" y="482"/>
                </a:cxn>
                <a:cxn ang="0">
                  <a:pos x="1865" y="482"/>
                </a:cxn>
                <a:cxn ang="0">
                  <a:pos x="1849" y="427"/>
                </a:cxn>
                <a:cxn ang="0">
                  <a:pos x="1762" y="320"/>
                </a:cxn>
                <a:cxn ang="0">
                  <a:pos x="1924" y="96"/>
                </a:cxn>
                <a:cxn ang="0">
                  <a:pos x="1885" y="57"/>
                </a:cxn>
                <a:cxn ang="0">
                  <a:pos x="1771" y="17"/>
                </a:cxn>
                <a:cxn ang="0">
                  <a:pos x="1518" y="198"/>
                </a:cxn>
                <a:cxn ang="0">
                  <a:pos x="1356" y="266"/>
                </a:cxn>
                <a:cxn ang="0">
                  <a:pos x="1290" y="206"/>
                </a:cxn>
                <a:cxn ang="0">
                  <a:pos x="1203" y="218"/>
                </a:cxn>
                <a:cxn ang="0">
                  <a:pos x="1147" y="159"/>
                </a:cxn>
                <a:cxn ang="0">
                  <a:pos x="1147" y="159"/>
                </a:cxn>
              </a:cxnLst>
              <a:rect l="0" t="0" r="r" b="b"/>
              <a:pathLst>
                <a:path w="2842" h="963">
                  <a:moveTo>
                    <a:pt x="1147" y="159"/>
                  </a:moveTo>
                  <a:lnTo>
                    <a:pt x="998" y="254"/>
                  </a:lnTo>
                  <a:lnTo>
                    <a:pt x="789" y="48"/>
                  </a:lnTo>
                  <a:lnTo>
                    <a:pt x="307" y="0"/>
                  </a:lnTo>
                  <a:lnTo>
                    <a:pt x="277" y="84"/>
                  </a:lnTo>
                  <a:lnTo>
                    <a:pt x="324" y="218"/>
                  </a:lnTo>
                  <a:lnTo>
                    <a:pt x="229" y="427"/>
                  </a:lnTo>
                  <a:lnTo>
                    <a:pt x="134" y="462"/>
                  </a:lnTo>
                  <a:lnTo>
                    <a:pt x="0" y="579"/>
                  </a:lnTo>
                  <a:lnTo>
                    <a:pt x="100" y="631"/>
                  </a:lnTo>
                  <a:lnTo>
                    <a:pt x="127" y="710"/>
                  </a:lnTo>
                  <a:lnTo>
                    <a:pt x="134" y="766"/>
                  </a:lnTo>
                  <a:lnTo>
                    <a:pt x="210" y="852"/>
                  </a:lnTo>
                  <a:lnTo>
                    <a:pt x="221" y="927"/>
                  </a:lnTo>
                  <a:lnTo>
                    <a:pt x="289" y="934"/>
                  </a:lnTo>
                  <a:lnTo>
                    <a:pt x="363" y="915"/>
                  </a:lnTo>
                  <a:lnTo>
                    <a:pt x="391" y="860"/>
                  </a:lnTo>
                  <a:lnTo>
                    <a:pt x="458" y="785"/>
                  </a:lnTo>
                  <a:lnTo>
                    <a:pt x="493" y="793"/>
                  </a:lnTo>
                  <a:lnTo>
                    <a:pt x="572" y="746"/>
                  </a:lnTo>
                  <a:lnTo>
                    <a:pt x="824" y="548"/>
                  </a:lnTo>
                  <a:lnTo>
                    <a:pt x="938" y="643"/>
                  </a:lnTo>
                  <a:lnTo>
                    <a:pt x="1101" y="691"/>
                  </a:lnTo>
                  <a:lnTo>
                    <a:pt x="1156" y="766"/>
                  </a:lnTo>
                  <a:lnTo>
                    <a:pt x="1222" y="737"/>
                  </a:lnTo>
                  <a:lnTo>
                    <a:pt x="1344" y="907"/>
                  </a:lnTo>
                  <a:lnTo>
                    <a:pt x="1534" y="766"/>
                  </a:lnTo>
                  <a:lnTo>
                    <a:pt x="1754" y="907"/>
                  </a:lnTo>
                  <a:lnTo>
                    <a:pt x="1830" y="963"/>
                  </a:lnTo>
                  <a:lnTo>
                    <a:pt x="2141" y="934"/>
                  </a:lnTo>
                  <a:lnTo>
                    <a:pt x="2283" y="820"/>
                  </a:lnTo>
                  <a:lnTo>
                    <a:pt x="2641" y="840"/>
                  </a:lnTo>
                  <a:lnTo>
                    <a:pt x="2796" y="509"/>
                  </a:lnTo>
                  <a:lnTo>
                    <a:pt x="2803" y="285"/>
                  </a:lnTo>
                  <a:lnTo>
                    <a:pt x="2842" y="76"/>
                  </a:lnTo>
                  <a:lnTo>
                    <a:pt x="2622" y="143"/>
                  </a:lnTo>
                  <a:lnTo>
                    <a:pt x="2500" y="254"/>
                  </a:lnTo>
                  <a:lnTo>
                    <a:pt x="2086" y="360"/>
                  </a:lnTo>
                  <a:lnTo>
                    <a:pt x="1971" y="482"/>
                  </a:lnTo>
                  <a:lnTo>
                    <a:pt x="1865" y="482"/>
                  </a:lnTo>
                  <a:lnTo>
                    <a:pt x="1849" y="427"/>
                  </a:lnTo>
                  <a:lnTo>
                    <a:pt x="1762" y="320"/>
                  </a:lnTo>
                  <a:lnTo>
                    <a:pt x="1924" y="96"/>
                  </a:lnTo>
                  <a:lnTo>
                    <a:pt x="1885" y="57"/>
                  </a:lnTo>
                  <a:lnTo>
                    <a:pt x="1771" y="17"/>
                  </a:lnTo>
                  <a:lnTo>
                    <a:pt x="1518" y="198"/>
                  </a:lnTo>
                  <a:lnTo>
                    <a:pt x="1356" y="266"/>
                  </a:lnTo>
                  <a:lnTo>
                    <a:pt x="1290" y="206"/>
                  </a:lnTo>
                  <a:lnTo>
                    <a:pt x="1203" y="218"/>
                  </a:lnTo>
                  <a:lnTo>
                    <a:pt x="1147" y="159"/>
                  </a:lnTo>
                  <a:lnTo>
                    <a:pt x="1147" y="159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id="{CD86302E-22A2-47A8-BE5E-76E257E21A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4979" y="1850832"/>
              <a:ext cx="468392" cy="247865"/>
            </a:xfrm>
            <a:custGeom>
              <a:avLst/>
              <a:gdLst/>
              <a:ahLst/>
              <a:cxnLst>
                <a:cxn ang="0">
                  <a:pos x="0" y="701"/>
                </a:cxn>
                <a:cxn ang="0">
                  <a:pos x="49" y="557"/>
                </a:cxn>
                <a:cxn ang="0">
                  <a:pos x="123" y="557"/>
                </a:cxn>
                <a:cxn ang="0">
                  <a:pos x="332" y="217"/>
                </a:cxn>
                <a:cxn ang="0">
                  <a:pos x="538" y="1"/>
                </a:cxn>
                <a:cxn ang="0">
                  <a:pos x="537" y="0"/>
                </a:cxn>
                <a:cxn ang="0">
                  <a:pos x="738" y="123"/>
                </a:cxn>
                <a:cxn ang="0">
                  <a:pos x="975" y="205"/>
                </a:cxn>
                <a:cxn ang="0">
                  <a:pos x="1306" y="217"/>
                </a:cxn>
                <a:cxn ang="0">
                  <a:pos x="1428" y="340"/>
                </a:cxn>
                <a:cxn ang="0">
                  <a:pos x="1534" y="826"/>
                </a:cxn>
                <a:cxn ang="0">
                  <a:pos x="1325" y="812"/>
                </a:cxn>
                <a:cxn ang="0">
                  <a:pos x="1117" y="812"/>
                </a:cxn>
                <a:cxn ang="0">
                  <a:pos x="963" y="718"/>
                </a:cxn>
                <a:cxn ang="0">
                  <a:pos x="900" y="765"/>
                </a:cxn>
                <a:cxn ang="0">
                  <a:pos x="853" y="962"/>
                </a:cxn>
                <a:cxn ang="0">
                  <a:pos x="793" y="982"/>
                </a:cxn>
                <a:cxn ang="0">
                  <a:pos x="738" y="907"/>
                </a:cxn>
                <a:cxn ang="0">
                  <a:pos x="585" y="899"/>
                </a:cxn>
                <a:cxn ang="0">
                  <a:pos x="490" y="851"/>
                </a:cxn>
                <a:cxn ang="0">
                  <a:pos x="490" y="785"/>
                </a:cxn>
                <a:cxn ang="0">
                  <a:pos x="585" y="623"/>
                </a:cxn>
                <a:cxn ang="0">
                  <a:pos x="585" y="569"/>
                </a:cxn>
                <a:cxn ang="0">
                  <a:pos x="557" y="557"/>
                </a:cxn>
                <a:cxn ang="0">
                  <a:pos x="332" y="632"/>
                </a:cxn>
                <a:cxn ang="0">
                  <a:pos x="206" y="746"/>
                </a:cxn>
                <a:cxn ang="0">
                  <a:pos x="0" y="701"/>
                </a:cxn>
                <a:cxn ang="0">
                  <a:pos x="0" y="701"/>
                </a:cxn>
              </a:cxnLst>
              <a:rect l="0" t="0" r="r" b="b"/>
              <a:pathLst>
                <a:path w="1534" h="982">
                  <a:moveTo>
                    <a:pt x="0" y="701"/>
                  </a:moveTo>
                  <a:lnTo>
                    <a:pt x="49" y="557"/>
                  </a:lnTo>
                  <a:lnTo>
                    <a:pt x="123" y="557"/>
                  </a:lnTo>
                  <a:lnTo>
                    <a:pt x="332" y="217"/>
                  </a:lnTo>
                  <a:lnTo>
                    <a:pt x="538" y="1"/>
                  </a:lnTo>
                  <a:lnTo>
                    <a:pt x="537" y="0"/>
                  </a:lnTo>
                  <a:lnTo>
                    <a:pt x="738" y="123"/>
                  </a:lnTo>
                  <a:lnTo>
                    <a:pt x="975" y="205"/>
                  </a:lnTo>
                  <a:lnTo>
                    <a:pt x="1306" y="217"/>
                  </a:lnTo>
                  <a:lnTo>
                    <a:pt x="1428" y="340"/>
                  </a:lnTo>
                  <a:lnTo>
                    <a:pt x="1534" y="826"/>
                  </a:lnTo>
                  <a:lnTo>
                    <a:pt x="1325" y="812"/>
                  </a:lnTo>
                  <a:lnTo>
                    <a:pt x="1117" y="812"/>
                  </a:lnTo>
                  <a:lnTo>
                    <a:pt x="963" y="718"/>
                  </a:lnTo>
                  <a:lnTo>
                    <a:pt x="900" y="765"/>
                  </a:lnTo>
                  <a:lnTo>
                    <a:pt x="853" y="962"/>
                  </a:lnTo>
                  <a:lnTo>
                    <a:pt x="793" y="982"/>
                  </a:lnTo>
                  <a:lnTo>
                    <a:pt x="738" y="907"/>
                  </a:lnTo>
                  <a:lnTo>
                    <a:pt x="585" y="899"/>
                  </a:lnTo>
                  <a:lnTo>
                    <a:pt x="490" y="851"/>
                  </a:lnTo>
                  <a:lnTo>
                    <a:pt x="490" y="785"/>
                  </a:lnTo>
                  <a:lnTo>
                    <a:pt x="585" y="623"/>
                  </a:lnTo>
                  <a:lnTo>
                    <a:pt x="585" y="569"/>
                  </a:lnTo>
                  <a:lnTo>
                    <a:pt x="557" y="557"/>
                  </a:lnTo>
                  <a:lnTo>
                    <a:pt x="332" y="632"/>
                  </a:lnTo>
                  <a:lnTo>
                    <a:pt x="206" y="746"/>
                  </a:lnTo>
                  <a:lnTo>
                    <a:pt x="0" y="701"/>
                  </a:lnTo>
                  <a:lnTo>
                    <a:pt x="0" y="701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id="{BB11A7DD-A955-43BE-B337-68BBAF34D0A5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0195" y="1614551"/>
              <a:ext cx="760784" cy="882579"/>
            </a:xfrm>
            <a:custGeom>
              <a:avLst/>
              <a:gdLst/>
              <a:ahLst/>
              <a:cxnLst>
                <a:cxn ang="0">
                  <a:pos x="90" y="3257"/>
                </a:cxn>
                <a:cxn ang="0">
                  <a:pos x="153" y="3277"/>
                </a:cxn>
                <a:cxn ang="0">
                  <a:pos x="371" y="3525"/>
                </a:cxn>
                <a:cxn ang="0">
                  <a:pos x="500" y="3513"/>
                </a:cxn>
                <a:cxn ang="0">
                  <a:pos x="626" y="3431"/>
                </a:cxn>
                <a:cxn ang="0">
                  <a:pos x="804" y="3402"/>
                </a:cxn>
                <a:cxn ang="0">
                  <a:pos x="973" y="3174"/>
                </a:cxn>
                <a:cxn ang="0">
                  <a:pos x="973" y="2911"/>
                </a:cxn>
                <a:cxn ang="0">
                  <a:pos x="1068" y="2863"/>
                </a:cxn>
                <a:cxn ang="0">
                  <a:pos x="1194" y="2899"/>
                </a:cxn>
                <a:cxn ang="0">
                  <a:pos x="1289" y="2899"/>
                </a:cxn>
                <a:cxn ang="0">
                  <a:pos x="1399" y="2977"/>
                </a:cxn>
                <a:cxn ang="0">
                  <a:pos x="1513" y="2958"/>
                </a:cxn>
                <a:cxn ang="0">
                  <a:pos x="1627" y="2871"/>
                </a:cxn>
                <a:cxn ang="0">
                  <a:pos x="1809" y="2851"/>
                </a:cxn>
                <a:cxn ang="0">
                  <a:pos x="1911" y="2710"/>
                </a:cxn>
                <a:cxn ang="0">
                  <a:pos x="2014" y="2674"/>
                </a:cxn>
                <a:cxn ang="0">
                  <a:pos x="2088" y="2610"/>
                </a:cxn>
                <a:cxn ang="0">
                  <a:pos x="2222" y="2493"/>
                </a:cxn>
                <a:cxn ang="0">
                  <a:pos x="2317" y="2458"/>
                </a:cxn>
                <a:cxn ang="0">
                  <a:pos x="2412" y="2249"/>
                </a:cxn>
                <a:cxn ang="0">
                  <a:pos x="2365" y="2115"/>
                </a:cxn>
                <a:cxn ang="0">
                  <a:pos x="2395" y="2031"/>
                </a:cxn>
                <a:cxn ang="0">
                  <a:pos x="2479" y="1804"/>
                </a:cxn>
                <a:cxn ang="0">
                  <a:pos x="2329" y="1595"/>
                </a:cxn>
                <a:cxn ang="0">
                  <a:pos x="2222" y="1115"/>
                </a:cxn>
                <a:cxn ang="0">
                  <a:pos x="2188" y="850"/>
                </a:cxn>
                <a:cxn ang="0">
                  <a:pos x="2168" y="756"/>
                </a:cxn>
                <a:cxn ang="0">
                  <a:pos x="2222" y="603"/>
                </a:cxn>
                <a:cxn ang="0">
                  <a:pos x="2108" y="283"/>
                </a:cxn>
                <a:cxn ang="0">
                  <a:pos x="2140" y="236"/>
                </a:cxn>
                <a:cxn ang="0">
                  <a:pos x="2101" y="177"/>
                </a:cxn>
                <a:cxn ang="0">
                  <a:pos x="2140" y="55"/>
                </a:cxn>
                <a:cxn ang="0">
                  <a:pos x="2033" y="27"/>
                </a:cxn>
                <a:cxn ang="0">
                  <a:pos x="1892" y="0"/>
                </a:cxn>
                <a:cxn ang="0">
                  <a:pos x="1824" y="130"/>
                </a:cxn>
                <a:cxn ang="0">
                  <a:pos x="1656" y="244"/>
                </a:cxn>
                <a:cxn ang="0">
                  <a:pos x="1573" y="251"/>
                </a:cxn>
                <a:cxn ang="0">
                  <a:pos x="1430" y="488"/>
                </a:cxn>
                <a:cxn ang="0">
                  <a:pos x="1372" y="622"/>
                </a:cxn>
                <a:cxn ang="0">
                  <a:pos x="1447" y="697"/>
                </a:cxn>
                <a:cxn ang="0">
                  <a:pos x="1411" y="819"/>
                </a:cxn>
                <a:cxn ang="0">
                  <a:pos x="1478" y="981"/>
                </a:cxn>
                <a:cxn ang="0">
                  <a:pos x="1459" y="1067"/>
                </a:cxn>
                <a:cxn ang="0">
                  <a:pos x="1324" y="1217"/>
                </a:cxn>
                <a:cxn ang="0">
                  <a:pos x="1336" y="1379"/>
                </a:cxn>
                <a:cxn ang="0">
                  <a:pos x="1418" y="1481"/>
                </a:cxn>
                <a:cxn ang="0">
                  <a:pos x="1384" y="1681"/>
                </a:cxn>
                <a:cxn ang="0">
                  <a:pos x="1175" y="1749"/>
                </a:cxn>
                <a:cxn ang="0">
                  <a:pos x="1032" y="1662"/>
                </a:cxn>
                <a:cxn ang="0">
                  <a:pos x="864" y="1717"/>
                </a:cxn>
                <a:cxn ang="0">
                  <a:pos x="626" y="1918"/>
                </a:cxn>
                <a:cxn ang="0">
                  <a:pos x="276" y="2048"/>
                </a:cxn>
                <a:cxn ang="0">
                  <a:pos x="162" y="2324"/>
                </a:cxn>
                <a:cxn ang="0">
                  <a:pos x="12" y="2683"/>
                </a:cxn>
                <a:cxn ang="0">
                  <a:pos x="67" y="2911"/>
                </a:cxn>
                <a:cxn ang="0">
                  <a:pos x="0" y="3230"/>
                </a:cxn>
                <a:cxn ang="0">
                  <a:pos x="90" y="3257"/>
                </a:cxn>
                <a:cxn ang="0">
                  <a:pos x="90" y="3257"/>
                </a:cxn>
              </a:cxnLst>
              <a:rect l="0" t="0" r="r" b="b"/>
              <a:pathLst>
                <a:path w="2479" h="3525">
                  <a:moveTo>
                    <a:pt x="90" y="3257"/>
                  </a:moveTo>
                  <a:lnTo>
                    <a:pt x="153" y="3277"/>
                  </a:lnTo>
                  <a:lnTo>
                    <a:pt x="371" y="3525"/>
                  </a:lnTo>
                  <a:lnTo>
                    <a:pt x="500" y="3513"/>
                  </a:lnTo>
                  <a:lnTo>
                    <a:pt x="626" y="3431"/>
                  </a:lnTo>
                  <a:lnTo>
                    <a:pt x="804" y="3402"/>
                  </a:lnTo>
                  <a:lnTo>
                    <a:pt x="973" y="3174"/>
                  </a:lnTo>
                  <a:lnTo>
                    <a:pt x="973" y="2911"/>
                  </a:lnTo>
                  <a:lnTo>
                    <a:pt x="1068" y="2863"/>
                  </a:lnTo>
                  <a:lnTo>
                    <a:pt x="1194" y="2899"/>
                  </a:lnTo>
                  <a:lnTo>
                    <a:pt x="1289" y="2899"/>
                  </a:lnTo>
                  <a:lnTo>
                    <a:pt x="1399" y="2977"/>
                  </a:lnTo>
                  <a:lnTo>
                    <a:pt x="1513" y="2958"/>
                  </a:lnTo>
                  <a:lnTo>
                    <a:pt x="1627" y="2871"/>
                  </a:lnTo>
                  <a:lnTo>
                    <a:pt x="1809" y="2851"/>
                  </a:lnTo>
                  <a:lnTo>
                    <a:pt x="1911" y="2710"/>
                  </a:lnTo>
                  <a:lnTo>
                    <a:pt x="2014" y="2674"/>
                  </a:lnTo>
                  <a:lnTo>
                    <a:pt x="2088" y="2610"/>
                  </a:lnTo>
                  <a:lnTo>
                    <a:pt x="2222" y="2493"/>
                  </a:lnTo>
                  <a:lnTo>
                    <a:pt x="2317" y="2458"/>
                  </a:lnTo>
                  <a:lnTo>
                    <a:pt x="2412" y="2249"/>
                  </a:lnTo>
                  <a:lnTo>
                    <a:pt x="2365" y="2115"/>
                  </a:lnTo>
                  <a:lnTo>
                    <a:pt x="2395" y="2031"/>
                  </a:lnTo>
                  <a:lnTo>
                    <a:pt x="2479" y="1804"/>
                  </a:lnTo>
                  <a:lnTo>
                    <a:pt x="2329" y="1595"/>
                  </a:lnTo>
                  <a:lnTo>
                    <a:pt x="2222" y="1115"/>
                  </a:lnTo>
                  <a:lnTo>
                    <a:pt x="2188" y="850"/>
                  </a:lnTo>
                  <a:lnTo>
                    <a:pt x="2168" y="756"/>
                  </a:lnTo>
                  <a:lnTo>
                    <a:pt x="2222" y="603"/>
                  </a:lnTo>
                  <a:lnTo>
                    <a:pt x="2108" y="283"/>
                  </a:lnTo>
                  <a:lnTo>
                    <a:pt x="2140" y="236"/>
                  </a:lnTo>
                  <a:lnTo>
                    <a:pt x="2101" y="177"/>
                  </a:lnTo>
                  <a:lnTo>
                    <a:pt x="2140" y="55"/>
                  </a:lnTo>
                  <a:lnTo>
                    <a:pt x="2033" y="27"/>
                  </a:lnTo>
                  <a:lnTo>
                    <a:pt x="1892" y="0"/>
                  </a:lnTo>
                  <a:lnTo>
                    <a:pt x="1824" y="130"/>
                  </a:lnTo>
                  <a:lnTo>
                    <a:pt x="1656" y="244"/>
                  </a:lnTo>
                  <a:lnTo>
                    <a:pt x="1573" y="251"/>
                  </a:lnTo>
                  <a:lnTo>
                    <a:pt x="1430" y="488"/>
                  </a:lnTo>
                  <a:lnTo>
                    <a:pt x="1372" y="622"/>
                  </a:lnTo>
                  <a:lnTo>
                    <a:pt x="1447" y="697"/>
                  </a:lnTo>
                  <a:lnTo>
                    <a:pt x="1411" y="819"/>
                  </a:lnTo>
                  <a:lnTo>
                    <a:pt x="1478" y="981"/>
                  </a:lnTo>
                  <a:lnTo>
                    <a:pt x="1459" y="1067"/>
                  </a:lnTo>
                  <a:lnTo>
                    <a:pt x="1324" y="1217"/>
                  </a:lnTo>
                  <a:lnTo>
                    <a:pt x="1336" y="1379"/>
                  </a:lnTo>
                  <a:lnTo>
                    <a:pt x="1418" y="1481"/>
                  </a:lnTo>
                  <a:lnTo>
                    <a:pt x="1384" y="1681"/>
                  </a:lnTo>
                  <a:lnTo>
                    <a:pt x="1175" y="1749"/>
                  </a:lnTo>
                  <a:lnTo>
                    <a:pt x="1032" y="1662"/>
                  </a:lnTo>
                  <a:lnTo>
                    <a:pt x="864" y="1717"/>
                  </a:lnTo>
                  <a:lnTo>
                    <a:pt x="626" y="1918"/>
                  </a:lnTo>
                  <a:lnTo>
                    <a:pt x="276" y="2048"/>
                  </a:lnTo>
                  <a:lnTo>
                    <a:pt x="162" y="2324"/>
                  </a:lnTo>
                  <a:lnTo>
                    <a:pt x="12" y="2683"/>
                  </a:lnTo>
                  <a:lnTo>
                    <a:pt x="67" y="2911"/>
                  </a:lnTo>
                  <a:lnTo>
                    <a:pt x="0" y="3230"/>
                  </a:lnTo>
                  <a:lnTo>
                    <a:pt x="90" y="3257"/>
                  </a:lnTo>
                  <a:lnTo>
                    <a:pt x="90" y="3257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68" name="Freeform 19">
              <a:extLst>
                <a:ext uri="{FF2B5EF4-FFF2-40B4-BE49-F238E27FC236}">
                  <a16:creationId xmlns:a16="http://schemas.microsoft.com/office/drawing/2014/main" id="{62DEDBCC-D631-4069-B022-9F6C535D3FD6}"/>
                </a:ext>
              </a:extLst>
            </p:cNvPr>
            <p:cNvSpPr>
              <a:spLocks/>
            </p:cNvSpPr>
            <p:nvPr/>
          </p:nvSpPr>
          <p:spPr bwMode="gray">
            <a:xfrm>
              <a:off x="4473739" y="1408385"/>
              <a:ext cx="908398" cy="1016935"/>
            </a:xfrm>
            <a:custGeom>
              <a:avLst/>
              <a:gdLst/>
              <a:ahLst/>
              <a:cxnLst>
                <a:cxn ang="0">
                  <a:pos x="416" y="1945"/>
                </a:cxn>
                <a:cxn ang="0">
                  <a:pos x="368" y="2559"/>
                </a:cxn>
                <a:cxn ang="0">
                  <a:pos x="396" y="2682"/>
                </a:cxn>
                <a:cxn ang="0">
                  <a:pos x="605" y="3013"/>
                </a:cxn>
                <a:cxn ang="0">
                  <a:pos x="834" y="3025"/>
                </a:cxn>
                <a:cxn ang="0">
                  <a:pos x="691" y="3221"/>
                </a:cxn>
                <a:cxn ang="0">
                  <a:pos x="691" y="3619"/>
                </a:cxn>
                <a:cxn ang="0">
                  <a:pos x="766" y="3768"/>
                </a:cxn>
                <a:cxn ang="0">
                  <a:pos x="1058" y="4033"/>
                </a:cxn>
                <a:cxn ang="0">
                  <a:pos x="1070" y="3486"/>
                </a:cxn>
                <a:cxn ang="0">
                  <a:pos x="1334" y="2851"/>
                </a:cxn>
                <a:cxn ang="0">
                  <a:pos x="1922" y="2520"/>
                </a:cxn>
                <a:cxn ang="0">
                  <a:pos x="2233" y="2552"/>
                </a:cxn>
                <a:cxn ang="0">
                  <a:pos x="2476" y="2284"/>
                </a:cxn>
                <a:cxn ang="0">
                  <a:pos x="2382" y="2020"/>
                </a:cxn>
                <a:cxn ang="0">
                  <a:pos x="2536" y="1784"/>
                </a:cxn>
                <a:cxn ang="0">
                  <a:pos x="2505" y="1500"/>
                </a:cxn>
                <a:cxn ang="0">
                  <a:pos x="2488" y="1291"/>
                </a:cxn>
                <a:cxn ang="0">
                  <a:pos x="2714" y="1047"/>
                </a:cxn>
                <a:cxn ang="0">
                  <a:pos x="2950" y="803"/>
                </a:cxn>
                <a:cxn ang="0">
                  <a:pos x="2828" y="791"/>
                </a:cxn>
                <a:cxn ang="0">
                  <a:pos x="2260" y="554"/>
                </a:cxn>
                <a:cxn ang="0">
                  <a:pos x="2043" y="649"/>
                </a:cxn>
                <a:cxn ang="0">
                  <a:pos x="1862" y="755"/>
                </a:cxn>
                <a:cxn ang="0">
                  <a:pos x="1692" y="886"/>
                </a:cxn>
                <a:cxn ang="0">
                  <a:pos x="1720" y="772"/>
                </a:cxn>
                <a:cxn ang="0">
                  <a:pos x="1713" y="614"/>
                </a:cxn>
                <a:cxn ang="0">
                  <a:pos x="1759" y="472"/>
                </a:cxn>
                <a:cxn ang="0">
                  <a:pos x="1732" y="405"/>
                </a:cxn>
                <a:cxn ang="0">
                  <a:pos x="1626" y="204"/>
                </a:cxn>
                <a:cxn ang="0">
                  <a:pos x="1429" y="216"/>
                </a:cxn>
                <a:cxn ang="0">
                  <a:pos x="1369" y="121"/>
                </a:cxn>
                <a:cxn ang="0">
                  <a:pos x="1314" y="94"/>
                </a:cxn>
                <a:cxn ang="0">
                  <a:pos x="1133" y="27"/>
                </a:cxn>
                <a:cxn ang="0">
                  <a:pos x="1002" y="141"/>
                </a:cxn>
                <a:cxn ang="0">
                  <a:pos x="916" y="440"/>
                </a:cxn>
                <a:cxn ang="0">
                  <a:pos x="822" y="649"/>
                </a:cxn>
                <a:cxn ang="0">
                  <a:pos x="707" y="913"/>
                </a:cxn>
                <a:cxn ang="0">
                  <a:pos x="368" y="1464"/>
                </a:cxn>
                <a:cxn ang="0">
                  <a:pos x="0" y="1712"/>
                </a:cxn>
                <a:cxn ang="0">
                  <a:pos x="254" y="1784"/>
                </a:cxn>
              </a:cxnLst>
              <a:rect l="0" t="0" r="r" b="b"/>
              <a:pathLst>
                <a:path w="2950" h="4033">
                  <a:moveTo>
                    <a:pt x="254" y="1784"/>
                  </a:moveTo>
                  <a:lnTo>
                    <a:pt x="416" y="1945"/>
                  </a:lnTo>
                  <a:lnTo>
                    <a:pt x="435" y="2379"/>
                  </a:lnTo>
                  <a:lnTo>
                    <a:pt x="368" y="2559"/>
                  </a:lnTo>
                  <a:lnTo>
                    <a:pt x="302" y="2627"/>
                  </a:lnTo>
                  <a:lnTo>
                    <a:pt x="396" y="2682"/>
                  </a:lnTo>
                  <a:lnTo>
                    <a:pt x="416" y="2777"/>
                  </a:lnTo>
                  <a:lnTo>
                    <a:pt x="605" y="3013"/>
                  </a:lnTo>
                  <a:lnTo>
                    <a:pt x="754" y="2977"/>
                  </a:lnTo>
                  <a:lnTo>
                    <a:pt x="834" y="3025"/>
                  </a:lnTo>
                  <a:lnTo>
                    <a:pt x="834" y="3154"/>
                  </a:lnTo>
                  <a:lnTo>
                    <a:pt x="691" y="3221"/>
                  </a:lnTo>
                  <a:lnTo>
                    <a:pt x="584" y="3457"/>
                  </a:lnTo>
                  <a:lnTo>
                    <a:pt x="691" y="3619"/>
                  </a:lnTo>
                  <a:lnTo>
                    <a:pt x="793" y="3722"/>
                  </a:lnTo>
                  <a:lnTo>
                    <a:pt x="766" y="3768"/>
                  </a:lnTo>
                  <a:lnTo>
                    <a:pt x="861" y="3977"/>
                  </a:lnTo>
                  <a:lnTo>
                    <a:pt x="1058" y="4033"/>
                  </a:lnTo>
                  <a:lnTo>
                    <a:pt x="1125" y="3714"/>
                  </a:lnTo>
                  <a:lnTo>
                    <a:pt x="1070" y="3486"/>
                  </a:lnTo>
                  <a:lnTo>
                    <a:pt x="1220" y="3127"/>
                  </a:lnTo>
                  <a:lnTo>
                    <a:pt x="1334" y="2851"/>
                  </a:lnTo>
                  <a:lnTo>
                    <a:pt x="1684" y="2721"/>
                  </a:lnTo>
                  <a:lnTo>
                    <a:pt x="1922" y="2520"/>
                  </a:lnTo>
                  <a:lnTo>
                    <a:pt x="2090" y="2465"/>
                  </a:lnTo>
                  <a:lnTo>
                    <a:pt x="2233" y="2552"/>
                  </a:lnTo>
                  <a:lnTo>
                    <a:pt x="2442" y="2484"/>
                  </a:lnTo>
                  <a:lnTo>
                    <a:pt x="2476" y="2284"/>
                  </a:lnTo>
                  <a:lnTo>
                    <a:pt x="2394" y="2182"/>
                  </a:lnTo>
                  <a:lnTo>
                    <a:pt x="2382" y="2020"/>
                  </a:lnTo>
                  <a:lnTo>
                    <a:pt x="2517" y="1870"/>
                  </a:lnTo>
                  <a:lnTo>
                    <a:pt x="2536" y="1784"/>
                  </a:lnTo>
                  <a:lnTo>
                    <a:pt x="2469" y="1622"/>
                  </a:lnTo>
                  <a:lnTo>
                    <a:pt x="2505" y="1500"/>
                  </a:lnTo>
                  <a:lnTo>
                    <a:pt x="2430" y="1425"/>
                  </a:lnTo>
                  <a:lnTo>
                    <a:pt x="2488" y="1291"/>
                  </a:lnTo>
                  <a:lnTo>
                    <a:pt x="2631" y="1054"/>
                  </a:lnTo>
                  <a:lnTo>
                    <a:pt x="2714" y="1047"/>
                  </a:lnTo>
                  <a:lnTo>
                    <a:pt x="2882" y="933"/>
                  </a:lnTo>
                  <a:lnTo>
                    <a:pt x="2950" y="803"/>
                  </a:lnTo>
                  <a:lnTo>
                    <a:pt x="2930" y="763"/>
                  </a:lnTo>
                  <a:lnTo>
                    <a:pt x="2828" y="791"/>
                  </a:lnTo>
                  <a:lnTo>
                    <a:pt x="2678" y="716"/>
                  </a:lnTo>
                  <a:lnTo>
                    <a:pt x="2260" y="554"/>
                  </a:lnTo>
                  <a:lnTo>
                    <a:pt x="2213" y="622"/>
                  </a:lnTo>
                  <a:lnTo>
                    <a:pt x="2043" y="649"/>
                  </a:lnTo>
                  <a:lnTo>
                    <a:pt x="1949" y="736"/>
                  </a:lnTo>
                  <a:lnTo>
                    <a:pt x="1862" y="755"/>
                  </a:lnTo>
                  <a:lnTo>
                    <a:pt x="1720" y="905"/>
                  </a:lnTo>
                  <a:lnTo>
                    <a:pt x="1692" y="886"/>
                  </a:lnTo>
                  <a:lnTo>
                    <a:pt x="1732" y="803"/>
                  </a:lnTo>
                  <a:lnTo>
                    <a:pt x="1720" y="772"/>
                  </a:lnTo>
                  <a:lnTo>
                    <a:pt x="1672" y="743"/>
                  </a:lnTo>
                  <a:lnTo>
                    <a:pt x="1713" y="614"/>
                  </a:lnTo>
                  <a:lnTo>
                    <a:pt x="1787" y="507"/>
                  </a:lnTo>
                  <a:lnTo>
                    <a:pt x="1759" y="472"/>
                  </a:lnTo>
                  <a:lnTo>
                    <a:pt x="1672" y="480"/>
                  </a:lnTo>
                  <a:lnTo>
                    <a:pt x="1732" y="405"/>
                  </a:lnTo>
                  <a:lnTo>
                    <a:pt x="1740" y="330"/>
                  </a:lnTo>
                  <a:lnTo>
                    <a:pt x="1626" y="204"/>
                  </a:lnTo>
                  <a:lnTo>
                    <a:pt x="1476" y="157"/>
                  </a:lnTo>
                  <a:lnTo>
                    <a:pt x="1429" y="216"/>
                  </a:lnTo>
                  <a:lnTo>
                    <a:pt x="1390" y="216"/>
                  </a:lnTo>
                  <a:lnTo>
                    <a:pt x="1369" y="121"/>
                  </a:lnTo>
                  <a:lnTo>
                    <a:pt x="1354" y="82"/>
                  </a:lnTo>
                  <a:lnTo>
                    <a:pt x="1314" y="94"/>
                  </a:lnTo>
                  <a:lnTo>
                    <a:pt x="1247" y="63"/>
                  </a:lnTo>
                  <a:lnTo>
                    <a:pt x="1133" y="27"/>
                  </a:lnTo>
                  <a:lnTo>
                    <a:pt x="1038" y="0"/>
                  </a:lnTo>
                  <a:lnTo>
                    <a:pt x="1002" y="141"/>
                  </a:lnTo>
                  <a:lnTo>
                    <a:pt x="1002" y="311"/>
                  </a:lnTo>
                  <a:lnTo>
                    <a:pt x="916" y="440"/>
                  </a:lnTo>
                  <a:lnTo>
                    <a:pt x="909" y="535"/>
                  </a:lnTo>
                  <a:lnTo>
                    <a:pt x="822" y="649"/>
                  </a:lnTo>
                  <a:lnTo>
                    <a:pt x="822" y="791"/>
                  </a:lnTo>
                  <a:lnTo>
                    <a:pt x="707" y="913"/>
                  </a:lnTo>
                  <a:lnTo>
                    <a:pt x="625" y="1086"/>
                  </a:lnTo>
                  <a:lnTo>
                    <a:pt x="368" y="1464"/>
                  </a:lnTo>
                  <a:lnTo>
                    <a:pt x="219" y="1500"/>
                  </a:lnTo>
                  <a:lnTo>
                    <a:pt x="0" y="1712"/>
                  </a:lnTo>
                  <a:lnTo>
                    <a:pt x="139" y="1784"/>
                  </a:lnTo>
                  <a:lnTo>
                    <a:pt x="254" y="1784"/>
                  </a:lnTo>
                  <a:lnTo>
                    <a:pt x="254" y="1784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69" name="Freeform 20">
              <a:extLst>
                <a:ext uri="{FF2B5EF4-FFF2-40B4-BE49-F238E27FC236}">
                  <a16:creationId xmlns:a16="http://schemas.microsoft.com/office/drawing/2014/main" id="{550E3E3D-B7F3-45AE-9A25-B0D93FD6BFD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7463" y="982153"/>
              <a:ext cx="1777055" cy="1392205"/>
            </a:xfrm>
            <a:custGeom>
              <a:avLst/>
              <a:gdLst/>
              <a:ahLst/>
              <a:cxnLst>
                <a:cxn ang="0">
                  <a:pos x="0" y="630"/>
                </a:cxn>
                <a:cxn ang="0">
                  <a:pos x="255" y="481"/>
                </a:cxn>
                <a:cxn ang="0">
                  <a:pos x="457" y="413"/>
                </a:cxn>
                <a:cxn ang="0">
                  <a:pos x="729" y="291"/>
                </a:cxn>
                <a:cxn ang="0">
                  <a:pos x="984" y="284"/>
                </a:cxn>
                <a:cxn ang="0">
                  <a:pos x="1355" y="311"/>
                </a:cxn>
                <a:cxn ang="0">
                  <a:pos x="1249" y="169"/>
                </a:cxn>
                <a:cxn ang="0">
                  <a:pos x="1457" y="63"/>
                </a:cxn>
                <a:cxn ang="0">
                  <a:pos x="1883" y="102"/>
                </a:cxn>
                <a:cxn ang="0">
                  <a:pos x="1911" y="299"/>
                </a:cxn>
                <a:cxn ang="0">
                  <a:pos x="2194" y="433"/>
                </a:cxn>
                <a:cxn ang="0">
                  <a:pos x="2470" y="614"/>
                </a:cxn>
                <a:cxn ang="0">
                  <a:pos x="2601" y="879"/>
                </a:cxn>
                <a:cxn ang="0">
                  <a:pos x="2789" y="1217"/>
                </a:cxn>
                <a:cxn ang="0">
                  <a:pos x="2944" y="1559"/>
                </a:cxn>
                <a:cxn ang="0">
                  <a:pos x="3085" y="1736"/>
                </a:cxn>
                <a:cxn ang="0">
                  <a:pos x="2971" y="1870"/>
                </a:cxn>
                <a:cxn ang="0">
                  <a:pos x="3046" y="2154"/>
                </a:cxn>
                <a:cxn ang="0">
                  <a:pos x="3389" y="1717"/>
                </a:cxn>
                <a:cxn ang="0">
                  <a:pos x="3625" y="1595"/>
                </a:cxn>
                <a:cxn ang="0">
                  <a:pos x="3688" y="1831"/>
                </a:cxn>
                <a:cxn ang="0">
                  <a:pos x="3546" y="1965"/>
                </a:cxn>
                <a:cxn ang="0">
                  <a:pos x="3641" y="2068"/>
                </a:cxn>
                <a:cxn ang="0">
                  <a:pos x="3775" y="2013"/>
                </a:cxn>
                <a:cxn ang="0">
                  <a:pos x="3991" y="1965"/>
                </a:cxn>
                <a:cxn ang="0">
                  <a:pos x="4098" y="2047"/>
                </a:cxn>
                <a:cxn ang="0">
                  <a:pos x="4275" y="2020"/>
                </a:cxn>
                <a:cxn ang="0">
                  <a:pos x="4153" y="2316"/>
                </a:cxn>
                <a:cxn ang="0">
                  <a:pos x="4209" y="2343"/>
                </a:cxn>
                <a:cxn ang="0">
                  <a:pos x="4618" y="1823"/>
                </a:cxn>
                <a:cxn ang="0">
                  <a:pos x="4720" y="1811"/>
                </a:cxn>
                <a:cxn ang="0">
                  <a:pos x="4870" y="1540"/>
                </a:cxn>
                <a:cxn ang="0">
                  <a:pos x="5174" y="1481"/>
                </a:cxn>
                <a:cxn ang="0">
                  <a:pos x="5470" y="1540"/>
                </a:cxn>
                <a:cxn ang="0">
                  <a:pos x="5686" y="1607"/>
                </a:cxn>
                <a:cxn ang="0">
                  <a:pos x="5733" y="1843"/>
                </a:cxn>
                <a:cxn ang="0">
                  <a:pos x="5647" y="2142"/>
                </a:cxn>
                <a:cxn ang="0">
                  <a:pos x="5553" y="2351"/>
                </a:cxn>
                <a:cxn ang="0">
                  <a:pos x="5438" y="2615"/>
                </a:cxn>
                <a:cxn ang="0">
                  <a:pos x="5099" y="3166"/>
                </a:cxn>
                <a:cxn ang="0">
                  <a:pos x="4731" y="3414"/>
                </a:cxn>
                <a:cxn ang="0">
                  <a:pos x="4749" y="3552"/>
                </a:cxn>
                <a:cxn ang="0">
                  <a:pos x="4741" y="3903"/>
                </a:cxn>
                <a:cxn ang="0">
                  <a:pos x="4382" y="4222"/>
                </a:cxn>
                <a:cxn ang="0">
                  <a:pos x="4315" y="4490"/>
                </a:cxn>
                <a:cxn ang="0">
                  <a:pos x="4275" y="4931"/>
                </a:cxn>
                <a:cxn ang="0">
                  <a:pos x="3877" y="5530"/>
                </a:cxn>
                <a:cxn ang="0">
                  <a:pos x="977" y="5309"/>
                </a:cxn>
                <a:cxn ang="0">
                  <a:pos x="843" y="5207"/>
                </a:cxn>
                <a:cxn ang="0">
                  <a:pos x="626" y="4802"/>
                </a:cxn>
                <a:cxn ang="0">
                  <a:pos x="294" y="4195"/>
                </a:cxn>
                <a:cxn ang="0">
                  <a:pos x="1127" y="2142"/>
                </a:cxn>
                <a:cxn ang="0">
                  <a:pos x="787" y="1898"/>
                </a:cxn>
                <a:cxn ang="0">
                  <a:pos x="389" y="1859"/>
                </a:cxn>
                <a:cxn ang="0">
                  <a:pos x="42" y="1016"/>
                </a:cxn>
              </a:cxnLst>
              <a:rect l="0" t="0" r="r" b="b"/>
              <a:pathLst>
                <a:path w="5769" h="5530">
                  <a:moveTo>
                    <a:pt x="42" y="1016"/>
                  </a:moveTo>
                  <a:lnTo>
                    <a:pt x="0" y="630"/>
                  </a:lnTo>
                  <a:lnTo>
                    <a:pt x="105" y="614"/>
                  </a:lnTo>
                  <a:lnTo>
                    <a:pt x="255" y="481"/>
                  </a:lnTo>
                  <a:lnTo>
                    <a:pt x="342" y="488"/>
                  </a:lnTo>
                  <a:lnTo>
                    <a:pt x="457" y="413"/>
                  </a:lnTo>
                  <a:lnTo>
                    <a:pt x="578" y="413"/>
                  </a:lnTo>
                  <a:lnTo>
                    <a:pt x="729" y="291"/>
                  </a:lnTo>
                  <a:lnTo>
                    <a:pt x="918" y="331"/>
                  </a:lnTo>
                  <a:lnTo>
                    <a:pt x="984" y="284"/>
                  </a:lnTo>
                  <a:lnTo>
                    <a:pt x="1249" y="338"/>
                  </a:lnTo>
                  <a:lnTo>
                    <a:pt x="1355" y="311"/>
                  </a:lnTo>
                  <a:lnTo>
                    <a:pt x="1343" y="263"/>
                  </a:lnTo>
                  <a:lnTo>
                    <a:pt x="1249" y="169"/>
                  </a:lnTo>
                  <a:lnTo>
                    <a:pt x="1336" y="63"/>
                  </a:lnTo>
                  <a:lnTo>
                    <a:pt x="1457" y="63"/>
                  </a:lnTo>
                  <a:lnTo>
                    <a:pt x="1761" y="0"/>
                  </a:lnTo>
                  <a:lnTo>
                    <a:pt x="1883" y="102"/>
                  </a:lnTo>
                  <a:lnTo>
                    <a:pt x="1883" y="224"/>
                  </a:lnTo>
                  <a:lnTo>
                    <a:pt x="1911" y="299"/>
                  </a:lnTo>
                  <a:lnTo>
                    <a:pt x="2033" y="319"/>
                  </a:lnTo>
                  <a:lnTo>
                    <a:pt x="2194" y="433"/>
                  </a:lnTo>
                  <a:lnTo>
                    <a:pt x="2424" y="508"/>
                  </a:lnTo>
                  <a:lnTo>
                    <a:pt x="2470" y="614"/>
                  </a:lnTo>
                  <a:lnTo>
                    <a:pt x="2612" y="784"/>
                  </a:lnTo>
                  <a:lnTo>
                    <a:pt x="2601" y="879"/>
                  </a:lnTo>
                  <a:lnTo>
                    <a:pt x="2679" y="1161"/>
                  </a:lnTo>
                  <a:lnTo>
                    <a:pt x="2789" y="1217"/>
                  </a:lnTo>
                  <a:lnTo>
                    <a:pt x="2829" y="1292"/>
                  </a:lnTo>
                  <a:lnTo>
                    <a:pt x="2944" y="1559"/>
                  </a:lnTo>
                  <a:lnTo>
                    <a:pt x="3180" y="1634"/>
                  </a:lnTo>
                  <a:lnTo>
                    <a:pt x="3085" y="1736"/>
                  </a:lnTo>
                  <a:lnTo>
                    <a:pt x="2782" y="1843"/>
                  </a:lnTo>
                  <a:lnTo>
                    <a:pt x="2971" y="1870"/>
                  </a:lnTo>
                  <a:lnTo>
                    <a:pt x="2971" y="2059"/>
                  </a:lnTo>
                  <a:lnTo>
                    <a:pt x="3046" y="2154"/>
                  </a:lnTo>
                  <a:lnTo>
                    <a:pt x="3026" y="1906"/>
                  </a:lnTo>
                  <a:lnTo>
                    <a:pt x="3389" y="1717"/>
                  </a:lnTo>
                  <a:lnTo>
                    <a:pt x="3558" y="1588"/>
                  </a:lnTo>
                  <a:lnTo>
                    <a:pt x="3625" y="1595"/>
                  </a:lnTo>
                  <a:lnTo>
                    <a:pt x="3641" y="1736"/>
                  </a:lnTo>
                  <a:lnTo>
                    <a:pt x="3688" y="1831"/>
                  </a:lnTo>
                  <a:lnTo>
                    <a:pt x="3661" y="1953"/>
                  </a:lnTo>
                  <a:lnTo>
                    <a:pt x="3546" y="1965"/>
                  </a:lnTo>
                  <a:lnTo>
                    <a:pt x="3578" y="2047"/>
                  </a:lnTo>
                  <a:lnTo>
                    <a:pt x="3641" y="2068"/>
                  </a:lnTo>
                  <a:lnTo>
                    <a:pt x="3728" y="1984"/>
                  </a:lnTo>
                  <a:lnTo>
                    <a:pt x="3775" y="2013"/>
                  </a:lnTo>
                  <a:lnTo>
                    <a:pt x="3870" y="2013"/>
                  </a:lnTo>
                  <a:lnTo>
                    <a:pt x="3991" y="1965"/>
                  </a:lnTo>
                  <a:lnTo>
                    <a:pt x="4059" y="2013"/>
                  </a:lnTo>
                  <a:lnTo>
                    <a:pt x="4098" y="2047"/>
                  </a:lnTo>
                  <a:lnTo>
                    <a:pt x="4241" y="1984"/>
                  </a:lnTo>
                  <a:lnTo>
                    <a:pt x="4275" y="2020"/>
                  </a:lnTo>
                  <a:lnTo>
                    <a:pt x="4256" y="2134"/>
                  </a:lnTo>
                  <a:lnTo>
                    <a:pt x="4153" y="2316"/>
                  </a:lnTo>
                  <a:lnTo>
                    <a:pt x="4161" y="2391"/>
                  </a:lnTo>
                  <a:lnTo>
                    <a:pt x="4209" y="2343"/>
                  </a:lnTo>
                  <a:lnTo>
                    <a:pt x="4370" y="2020"/>
                  </a:lnTo>
                  <a:lnTo>
                    <a:pt x="4618" y="1823"/>
                  </a:lnTo>
                  <a:lnTo>
                    <a:pt x="4701" y="1843"/>
                  </a:lnTo>
                  <a:lnTo>
                    <a:pt x="4720" y="1811"/>
                  </a:lnTo>
                  <a:lnTo>
                    <a:pt x="4713" y="1756"/>
                  </a:lnTo>
                  <a:lnTo>
                    <a:pt x="4870" y="1540"/>
                  </a:lnTo>
                  <a:lnTo>
                    <a:pt x="5079" y="1445"/>
                  </a:lnTo>
                  <a:lnTo>
                    <a:pt x="5174" y="1481"/>
                  </a:lnTo>
                  <a:lnTo>
                    <a:pt x="5249" y="1453"/>
                  </a:lnTo>
                  <a:lnTo>
                    <a:pt x="5470" y="1540"/>
                  </a:lnTo>
                  <a:lnTo>
                    <a:pt x="5565" y="1622"/>
                  </a:lnTo>
                  <a:lnTo>
                    <a:pt x="5686" y="1607"/>
                  </a:lnTo>
                  <a:lnTo>
                    <a:pt x="5769" y="1702"/>
                  </a:lnTo>
                  <a:lnTo>
                    <a:pt x="5733" y="1843"/>
                  </a:lnTo>
                  <a:lnTo>
                    <a:pt x="5733" y="2013"/>
                  </a:lnTo>
                  <a:lnTo>
                    <a:pt x="5647" y="2142"/>
                  </a:lnTo>
                  <a:lnTo>
                    <a:pt x="5640" y="2237"/>
                  </a:lnTo>
                  <a:lnTo>
                    <a:pt x="5553" y="2351"/>
                  </a:lnTo>
                  <a:lnTo>
                    <a:pt x="5553" y="2493"/>
                  </a:lnTo>
                  <a:lnTo>
                    <a:pt x="5438" y="2615"/>
                  </a:lnTo>
                  <a:lnTo>
                    <a:pt x="5356" y="2788"/>
                  </a:lnTo>
                  <a:lnTo>
                    <a:pt x="5099" y="3166"/>
                  </a:lnTo>
                  <a:lnTo>
                    <a:pt x="4950" y="3202"/>
                  </a:lnTo>
                  <a:lnTo>
                    <a:pt x="4731" y="3414"/>
                  </a:lnTo>
                  <a:lnTo>
                    <a:pt x="4618" y="3525"/>
                  </a:lnTo>
                  <a:lnTo>
                    <a:pt x="4749" y="3552"/>
                  </a:lnTo>
                  <a:lnTo>
                    <a:pt x="4824" y="3608"/>
                  </a:lnTo>
                  <a:lnTo>
                    <a:pt x="4741" y="3903"/>
                  </a:lnTo>
                  <a:lnTo>
                    <a:pt x="4540" y="4127"/>
                  </a:lnTo>
                  <a:lnTo>
                    <a:pt x="4382" y="4222"/>
                  </a:lnTo>
                  <a:lnTo>
                    <a:pt x="4382" y="4289"/>
                  </a:lnTo>
                  <a:lnTo>
                    <a:pt x="4315" y="4490"/>
                  </a:lnTo>
                  <a:lnTo>
                    <a:pt x="4362" y="4612"/>
                  </a:lnTo>
                  <a:lnTo>
                    <a:pt x="4275" y="4931"/>
                  </a:lnTo>
                  <a:lnTo>
                    <a:pt x="4086" y="5179"/>
                  </a:lnTo>
                  <a:lnTo>
                    <a:pt x="3877" y="5530"/>
                  </a:lnTo>
                  <a:lnTo>
                    <a:pt x="1024" y="5356"/>
                  </a:lnTo>
                  <a:lnTo>
                    <a:pt x="977" y="5309"/>
                  </a:lnTo>
                  <a:lnTo>
                    <a:pt x="890" y="5273"/>
                  </a:lnTo>
                  <a:lnTo>
                    <a:pt x="843" y="5207"/>
                  </a:lnTo>
                  <a:lnTo>
                    <a:pt x="634" y="5018"/>
                  </a:lnTo>
                  <a:lnTo>
                    <a:pt x="626" y="4802"/>
                  </a:lnTo>
                  <a:lnTo>
                    <a:pt x="420" y="4423"/>
                  </a:lnTo>
                  <a:lnTo>
                    <a:pt x="294" y="4195"/>
                  </a:lnTo>
                  <a:lnTo>
                    <a:pt x="626" y="3403"/>
                  </a:lnTo>
                  <a:lnTo>
                    <a:pt x="1127" y="2142"/>
                  </a:lnTo>
                  <a:lnTo>
                    <a:pt x="1013" y="2047"/>
                  </a:lnTo>
                  <a:lnTo>
                    <a:pt x="787" y="1898"/>
                  </a:lnTo>
                  <a:lnTo>
                    <a:pt x="681" y="1898"/>
                  </a:lnTo>
                  <a:lnTo>
                    <a:pt x="389" y="1859"/>
                  </a:lnTo>
                  <a:lnTo>
                    <a:pt x="86" y="1406"/>
                  </a:lnTo>
                  <a:lnTo>
                    <a:pt x="42" y="1016"/>
                  </a:lnTo>
                  <a:lnTo>
                    <a:pt x="42" y="1016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70" name="Freeform 21">
              <a:extLst>
                <a:ext uri="{FF2B5EF4-FFF2-40B4-BE49-F238E27FC236}">
                  <a16:creationId xmlns:a16="http://schemas.microsoft.com/office/drawing/2014/main" id="{49EA456C-8432-482E-9876-2503E6734D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2491" y="2096379"/>
              <a:ext cx="1530083" cy="1218468"/>
            </a:xfrm>
            <a:custGeom>
              <a:avLst/>
              <a:gdLst/>
              <a:ahLst/>
              <a:cxnLst>
                <a:cxn ang="0">
                  <a:pos x="1370" y="642"/>
                </a:cxn>
                <a:cxn ang="0">
                  <a:pos x="1411" y="272"/>
                </a:cxn>
                <a:cxn ang="0">
                  <a:pos x="1508" y="0"/>
                </a:cxn>
                <a:cxn ang="0">
                  <a:pos x="1722" y="595"/>
                </a:cxn>
                <a:cxn ang="0">
                  <a:pos x="1978" y="850"/>
                </a:cxn>
                <a:cxn ang="0">
                  <a:pos x="2112" y="933"/>
                </a:cxn>
                <a:cxn ang="0">
                  <a:pos x="4776" y="1702"/>
                </a:cxn>
                <a:cxn ang="0">
                  <a:pos x="4843" y="2513"/>
                </a:cxn>
                <a:cxn ang="0">
                  <a:pos x="4634" y="3202"/>
                </a:cxn>
                <a:cxn ang="0">
                  <a:pos x="4465" y="3404"/>
                </a:cxn>
                <a:cxn ang="0">
                  <a:pos x="4221" y="3770"/>
                </a:cxn>
                <a:cxn ang="0">
                  <a:pos x="3937" y="4045"/>
                </a:cxn>
                <a:cxn ang="0">
                  <a:pos x="3680" y="4479"/>
                </a:cxn>
                <a:cxn ang="0">
                  <a:pos x="3539" y="4659"/>
                </a:cxn>
                <a:cxn ang="0">
                  <a:pos x="3355" y="4441"/>
                </a:cxn>
                <a:cxn ang="0">
                  <a:pos x="3247" y="4518"/>
                </a:cxn>
                <a:cxn ang="0">
                  <a:pos x="2944" y="4573"/>
                </a:cxn>
                <a:cxn ang="0">
                  <a:pos x="2349" y="4431"/>
                </a:cxn>
                <a:cxn ang="0">
                  <a:pos x="2072" y="4593"/>
                </a:cxn>
                <a:cxn ang="0">
                  <a:pos x="1809" y="4856"/>
                </a:cxn>
                <a:cxn ang="0">
                  <a:pos x="1477" y="4510"/>
                </a:cxn>
                <a:cxn ang="0">
                  <a:pos x="1450" y="4195"/>
                </a:cxn>
                <a:cxn ang="0">
                  <a:pos x="721" y="4072"/>
                </a:cxn>
                <a:cxn ang="0">
                  <a:pos x="646" y="3734"/>
                </a:cxn>
                <a:cxn ang="0">
                  <a:pos x="566" y="3506"/>
                </a:cxn>
                <a:cxn ang="0">
                  <a:pos x="587" y="3297"/>
                </a:cxn>
                <a:cxn ang="0">
                  <a:pos x="559" y="3060"/>
                </a:cxn>
                <a:cxn ang="0">
                  <a:pos x="445" y="2836"/>
                </a:cxn>
                <a:cxn ang="0">
                  <a:pos x="654" y="2533"/>
                </a:cxn>
                <a:cxn ang="0">
                  <a:pos x="748" y="2194"/>
                </a:cxn>
                <a:cxn ang="0">
                  <a:pos x="682" y="1918"/>
                </a:cxn>
                <a:cxn ang="0">
                  <a:pos x="626" y="1709"/>
                </a:cxn>
                <a:cxn ang="0">
                  <a:pos x="39" y="1465"/>
                </a:cxn>
                <a:cxn ang="0">
                  <a:pos x="78" y="1142"/>
                </a:cxn>
                <a:cxn ang="0">
                  <a:pos x="66" y="709"/>
                </a:cxn>
              </a:cxnLst>
              <a:rect l="0" t="0" r="r" b="b"/>
              <a:pathLst>
                <a:path w="4965" h="4856">
                  <a:moveTo>
                    <a:pt x="66" y="709"/>
                  </a:moveTo>
                  <a:lnTo>
                    <a:pt x="1370" y="642"/>
                  </a:lnTo>
                  <a:lnTo>
                    <a:pt x="1411" y="433"/>
                  </a:lnTo>
                  <a:lnTo>
                    <a:pt x="1411" y="272"/>
                  </a:lnTo>
                  <a:lnTo>
                    <a:pt x="1418" y="177"/>
                  </a:lnTo>
                  <a:lnTo>
                    <a:pt x="1508" y="0"/>
                  </a:lnTo>
                  <a:lnTo>
                    <a:pt x="1714" y="379"/>
                  </a:lnTo>
                  <a:lnTo>
                    <a:pt x="1722" y="595"/>
                  </a:lnTo>
                  <a:lnTo>
                    <a:pt x="1931" y="784"/>
                  </a:lnTo>
                  <a:lnTo>
                    <a:pt x="1978" y="850"/>
                  </a:lnTo>
                  <a:lnTo>
                    <a:pt x="2065" y="886"/>
                  </a:lnTo>
                  <a:lnTo>
                    <a:pt x="2112" y="933"/>
                  </a:lnTo>
                  <a:lnTo>
                    <a:pt x="4965" y="1107"/>
                  </a:lnTo>
                  <a:lnTo>
                    <a:pt x="4776" y="1702"/>
                  </a:lnTo>
                  <a:lnTo>
                    <a:pt x="4776" y="2288"/>
                  </a:lnTo>
                  <a:lnTo>
                    <a:pt x="4843" y="2513"/>
                  </a:lnTo>
                  <a:lnTo>
                    <a:pt x="4729" y="2729"/>
                  </a:lnTo>
                  <a:lnTo>
                    <a:pt x="4634" y="3202"/>
                  </a:lnTo>
                  <a:lnTo>
                    <a:pt x="4513" y="3423"/>
                  </a:lnTo>
                  <a:lnTo>
                    <a:pt x="4465" y="3404"/>
                  </a:lnTo>
                  <a:lnTo>
                    <a:pt x="4398" y="3438"/>
                  </a:lnTo>
                  <a:lnTo>
                    <a:pt x="4221" y="3770"/>
                  </a:lnTo>
                  <a:lnTo>
                    <a:pt x="4098" y="3809"/>
                  </a:lnTo>
                  <a:lnTo>
                    <a:pt x="3937" y="4045"/>
                  </a:lnTo>
                  <a:lnTo>
                    <a:pt x="3736" y="4261"/>
                  </a:lnTo>
                  <a:lnTo>
                    <a:pt x="3680" y="4479"/>
                  </a:lnTo>
                  <a:lnTo>
                    <a:pt x="3689" y="4754"/>
                  </a:lnTo>
                  <a:lnTo>
                    <a:pt x="3539" y="4659"/>
                  </a:lnTo>
                  <a:lnTo>
                    <a:pt x="3444" y="4451"/>
                  </a:lnTo>
                  <a:lnTo>
                    <a:pt x="3355" y="4441"/>
                  </a:lnTo>
                  <a:lnTo>
                    <a:pt x="3310" y="4518"/>
                  </a:lnTo>
                  <a:lnTo>
                    <a:pt x="3247" y="4518"/>
                  </a:lnTo>
                  <a:lnTo>
                    <a:pt x="3066" y="4490"/>
                  </a:lnTo>
                  <a:lnTo>
                    <a:pt x="2944" y="4573"/>
                  </a:lnTo>
                  <a:lnTo>
                    <a:pt x="2424" y="4396"/>
                  </a:lnTo>
                  <a:lnTo>
                    <a:pt x="2349" y="4431"/>
                  </a:lnTo>
                  <a:lnTo>
                    <a:pt x="2186" y="4463"/>
                  </a:lnTo>
                  <a:lnTo>
                    <a:pt x="2072" y="4593"/>
                  </a:lnTo>
                  <a:lnTo>
                    <a:pt x="1875" y="4734"/>
                  </a:lnTo>
                  <a:lnTo>
                    <a:pt x="1809" y="4856"/>
                  </a:lnTo>
                  <a:lnTo>
                    <a:pt x="1686" y="4605"/>
                  </a:lnTo>
                  <a:lnTo>
                    <a:pt x="1477" y="4510"/>
                  </a:lnTo>
                  <a:lnTo>
                    <a:pt x="1411" y="4309"/>
                  </a:lnTo>
                  <a:lnTo>
                    <a:pt x="1450" y="4195"/>
                  </a:lnTo>
                  <a:lnTo>
                    <a:pt x="1458" y="4065"/>
                  </a:lnTo>
                  <a:lnTo>
                    <a:pt x="721" y="4072"/>
                  </a:lnTo>
                  <a:lnTo>
                    <a:pt x="661" y="4037"/>
                  </a:lnTo>
                  <a:lnTo>
                    <a:pt x="646" y="3734"/>
                  </a:lnTo>
                  <a:lnTo>
                    <a:pt x="504" y="3572"/>
                  </a:lnTo>
                  <a:lnTo>
                    <a:pt x="566" y="3506"/>
                  </a:lnTo>
                  <a:lnTo>
                    <a:pt x="551" y="3423"/>
                  </a:lnTo>
                  <a:lnTo>
                    <a:pt x="587" y="3297"/>
                  </a:lnTo>
                  <a:lnTo>
                    <a:pt x="512" y="3166"/>
                  </a:lnTo>
                  <a:lnTo>
                    <a:pt x="559" y="3060"/>
                  </a:lnTo>
                  <a:lnTo>
                    <a:pt x="370" y="2911"/>
                  </a:lnTo>
                  <a:lnTo>
                    <a:pt x="445" y="2836"/>
                  </a:lnTo>
                  <a:lnTo>
                    <a:pt x="551" y="2702"/>
                  </a:lnTo>
                  <a:lnTo>
                    <a:pt x="654" y="2533"/>
                  </a:lnTo>
                  <a:lnTo>
                    <a:pt x="721" y="2399"/>
                  </a:lnTo>
                  <a:lnTo>
                    <a:pt x="748" y="2194"/>
                  </a:lnTo>
                  <a:lnTo>
                    <a:pt x="654" y="2005"/>
                  </a:lnTo>
                  <a:lnTo>
                    <a:pt x="682" y="1918"/>
                  </a:lnTo>
                  <a:lnTo>
                    <a:pt x="709" y="1777"/>
                  </a:lnTo>
                  <a:lnTo>
                    <a:pt x="626" y="1709"/>
                  </a:lnTo>
                  <a:lnTo>
                    <a:pt x="248" y="1674"/>
                  </a:lnTo>
                  <a:lnTo>
                    <a:pt x="39" y="1465"/>
                  </a:lnTo>
                  <a:lnTo>
                    <a:pt x="0" y="1370"/>
                  </a:lnTo>
                  <a:lnTo>
                    <a:pt x="78" y="1142"/>
                  </a:lnTo>
                  <a:lnTo>
                    <a:pt x="39" y="859"/>
                  </a:lnTo>
                  <a:lnTo>
                    <a:pt x="66" y="709"/>
                  </a:lnTo>
                  <a:lnTo>
                    <a:pt x="66" y="709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71" name="Freeform 22">
              <a:extLst>
                <a:ext uri="{FF2B5EF4-FFF2-40B4-BE49-F238E27FC236}">
                  <a16:creationId xmlns:a16="http://schemas.microsoft.com/office/drawing/2014/main" id="{A71D103C-EF2C-49CB-91BF-E1E613B7147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4289" y="2189038"/>
              <a:ext cx="950979" cy="637032"/>
            </a:xfrm>
            <a:custGeom>
              <a:avLst/>
              <a:gdLst/>
              <a:ahLst/>
              <a:cxnLst>
                <a:cxn ang="0">
                  <a:pos x="2402" y="342"/>
                </a:cxn>
                <a:cxn ang="0">
                  <a:pos x="2375" y="492"/>
                </a:cxn>
                <a:cxn ang="0">
                  <a:pos x="2414" y="775"/>
                </a:cxn>
                <a:cxn ang="0">
                  <a:pos x="2336" y="1003"/>
                </a:cxn>
                <a:cxn ang="0">
                  <a:pos x="2375" y="1098"/>
                </a:cxn>
                <a:cxn ang="0">
                  <a:pos x="2584" y="1307"/>
                </a:cxn>
                <a:cxn ang="0">
                  <a:pos x="2962" y="1342"/>
                </a:cxn>
                <a:cxn ang="0">
                  <a:pos x="3045" y="1410"/>
                </a:cxn>
                <a:cxn ang="0">
                  <a:pos x="3018" y="1551"/>
                </a:cxn>
                <a:cxn ang="0">
                  <a:pos x="2990" y="1638"/>
                </a:cxn>
                <a:cxn ang="0">
                  <a:pos x="3084" y="1827"/>
                </a:cxn>
                <a:cxn ang="0">
                  <a:pos x="3057" y="2032"/>
                </a:cxn>
                <a:cxn ang="0">
                  <a:pos x="2990" y="2166"/>
                </a:cxn>
                <a:cxn ang="0">
                  <a:pos x="2887" y="2335"/>
                </a:cxn>
                <a:cxn ang="0">
                  <a:pos x="2781" y="2469"/>
                </a:cxn>
                <a:cxn ang="0">
                  <a:pos x="2706" y="2544"/>
                </a:cxn>
                <a:cxn ang="0">
                  <a:pos x="2564" y="2488"/>
                </a:cxn>
                <a:cxn ang="0">
                  <a:pos x="2261" y="2516"/>
                </a:cxn>
                <a:cxn ang="0">
                  <a:pos x="2098" y="2335"/>
                </a:cxn>
                <a:cxn ang="0">
                  <a:pos x="1949" y="2316"/>
                </a:cxn>
                <a:cxn ang="0">
                  <a:pos x="1760" y="2213"/>
                </a:cxn>
                <a:cxn ang="0">
                  <a:pos x="1693" y="2138"/>
                </a:cxn>
                <a:cxn ang="0">
                  <a:pos x="1638" y="2138"/>
                </a:cxn>
                <a:cxn ang="0">
                  <a:pos x="1590" y="2146"/>
                </a:cxn>
                <a:cxn ang="0">
                  <a:pos x="1469" y="2063"/>
                </a:cxn>
                <a:cxn ang="0">
                  <a:pos x="1240" y="2091"/>
                </a:cxn>
                <a:cxn ang="0">
                  <a:pos x="1138" y="2071"/>
                </a:cxn>
                <a:cxn ang="0">
                  <a:pos x="1051" y="1930"/>
                </a:cxn>
                <a:cxn ang="0">
                  <a:pos x="948" y="1901"/>
                </a:cxn>
                <a:cxn ang="0">
                  <a:pos x="786" y="1780"/>
                </a:cxn>
                <a:cxn ang="0">
                  <a:pos x="665" y="1484"/>
                </a:cxn>
                <a:cxn ang="0">
                  <a:pos x="692" y="1401"/>
                </a:cxn>
                <a:cxn ang="0">
                  <a:pos x="625" y="1221"/>
                </a:cxn>
                <a:cxn ang="0">
                  <a:pos x="680" y="1031"/>
                </a:cxn>
                <a:cxn ang="0">
                  <a:pos x="653" y="869"/>
                </a:cxn>
                <a:cxn ang="0">
                  <a:pos x="606" y="842"/>
                </a:cxn>
                <a:cxn ang="0">
                  <a:pos x="531" y="917"/>
                </a:cxn>
                <a:cxn ang="0">
                  <a:pos x="239" y="917"/>
                </a:cxn>
                <a:cxn ang="0">
                  <a:pos x="165" y="960"/>
                </a:cxn>
                <a:cxn ang="0">
                  <a:pos x="0" y="887"/>
                </a:cxn>
                <a:cxn ang="0">
                  <a:pos x="254" y="680"/>
                </a:cxn>
                <a:cxn ang="0">
                  <a:pos x="381" y="673"/>
                </a:cxn>
                <a:cxn ang="0">
                  <a:pos x="511" y="721"/>
                </a:cxn>
                <a:cxn ang="0">
                  <a:pos x="699" y="646"/>
                </a:cxn>
                <a:cxn ang="0">
                  <a:pos x="786" y="646"/>
                </a:cxn>
                <a:cxn ang="0">
                  <a:pos x="908" y="483"/>
                </a:cxn>
                <a:cxn ang="0">
                  <a:pos x="1173" y="408"/>
                </a:cxn>
                <a:cxn ang="0">
                  <a:pos x="1260" y="330"/>
                </a:cxn>
                <a:cxn ang="0">
                  <a:pos x="1232" y="180"/>
                </a:cxn>
                <a:cxn ang="0">
                  <a:pos x="1342" y="94"/>
                </a:cxn>
                <a:cxn ang="0">
                  <a:pos x="1401" y="66"/>
                </a:cxn>
                <a:cxn ang="0">
                  <a:pos x="1421" y="0"/>
                </a:cxn>
                <a:cxn ang="0">
                  <a:pos x="1768" y="0"/>
                </a:cxn>
                <a:cxn ang="0">
                  <a:pos x="1996" y="220"/>
                </a:cxn>
                <a:cxn ang="0">
                  <a:pos x="2402" y="342"/>
                </a:cxn>
                <a:cxn ang="0">
                  <a:pos x="2402" y="342"/>
                </a:cxn>
              </a:cxnLst>
              <a:rect l="0" t="0" r="r" b="b"/>
              <a:pathLst>
                <a:path w="3084" h="2544">
                  <a:moveTo>
                    <a:pt x="2402" y="342"/>
                  </a:moveTo>
                  <a:lnTo>
                    <a:pt x="2375" y="492"/>
                  </a:lnTo>
                  <a:lnTo>
                    <a:pt x="2414" y="775"/>
                  </a:lnTo>
                  <a:lnTo>
                    <a:pt x="2336" y="1003"/>
                  </a:lnTo>
                  <a:lnTo>
                    <a:pt x="2375" y="1098"/>
                  </a:lnTo>
                  <a:lnTo>
                    <a:pt x="2584" y="1307"/>
                  </a:lnTo>
                  <a:lnTo>
                    <a:pt x="2962" y="1342"/>
                  </a:lnTo>
                  <a:lnTo>
                    <a:pt x="3045" y="1410"/>
                  </a:lnTo>
                  <a:lnTo>
                    <a:pt x="3018" y="1551"/>
                  </a:lnTo>
                  <a:lnTo>
                    <a:pt x="2990" y="1638"/>
                  </a:lnTo>
                  <a:lnTo>
                    <a:pt x="3084" y="1827"/>
                  </a:lnTo>
                  <a:lnTo>
                    <a:pt x="3057" y="2032"/>
                  </a:lnTo>
                  <a:lnTo>
                    <a:pt x="2990" y="2166"/>
                  </a:lnTo>
                  <a:lnTo>
                    <a:pt x="2887" y="2335"/>
                  </a:lnTo>
                  <a:lnTo>
                    <a:pt x="2781" y="2469"/>
                  </a:lnTo>
                  <a:lnTo>
                    <a:pt x="2706" y="2544"/>
                  </a:lnTo>
                  <a:lnTo>
                    <a:pt x="2564" y="2488"/>
                  </a:lnTo>
                  <a:lnTo>
                    <a:pt x="2261" y="2516"/>
                  </a:lnTo>
                  <a:lnTo>
                    <a:pt x="2098" y="2335"/>
                  </a:lnTo>
                  <a:lnTo>
                    <a:pt x="1949" y="2316"/>
                  </a:lnTo>
                  <a:lnTo>
                    <a:pt x="1760" y="2213"/>
                  </a:lnTo>
                  <a:lnTo>
                    <a:pt x="1693" y="2138"/>
                  </a:lnTo>
                  <a:lnTo>
                    <a:pt x="1638" y="2138"/>
                  </a:lnTo>
                  <a:lnTo>
                    <a:pt x="1590" y="2146"/>
                  </a:lnTo>
                  <a:lnTo>
                    <a:pt x="1469" y="2063"/>
                  </a:lnTo>
                  <a:lnTo>
                    <a:pt x="1240" y="2091"/>
                  </a:lnTo>
                  <a:lnTo>
                    <a:pt x="1138" y="2071"/>
                  </a:lnTo>
                  <a:lnTo>
                    <a:pt x="1051" y="1930"/>
                  </a:lnTo>
                  <a:lnTo>
                    <a:pt x="948" y="1901"/>
                  </a:lnTo>
                  <a:lnTo>
                    <a:pt x="786" y="1780"/>
                  </a:lnTo>
                  <a:lnTo>
                    <a:pt x="665" y="1484"/>
                  </a:lnTo>
                  <a:lnTo>
                    <a:pt x="692" y="1401"/>
                  </a:lnTo>
                  <a:lnTo>
                    <a:pt x="625" y="1221"/>
                  </a:lnTo>
                  <a:lnTo>
                    <a:pt x="680" y="1031"/>
                  </a:lnTo>
                  <a:lnTo>
                    <a:pt x="653" y="869"/>
                  </a:lnTo>
                  <a:lnTo>
                    <a:pt x="606" y="842"/>
                  </a:lnTo>
                  <a:lnTo>
                    <a:pt x="531" y="917"/>
                  </a:lnTo>
                  <a:lnTo>
                    <a:pt x="239" y="917"/>
                  </a:lnTo>
                  <a:lnTo>
                    <a:pt x="165" y="960"/>
                  </a:lnTo>
                  <a:lnTo>
                    <a:pt x="0" y="887"/>
                  </a:lnTo>
                  <a:lnTo>
                    <a:pt x="254" y="680"/>
                  </a:lnTo>
                  <a:lnTo>
                    <a:pt x="381" y="673"/>
                  </a:lnTo>
                  <a:lnTo>
                    <a:pt x="511" y="721"/>
                  </a:lnTo>
                  <a:lnTo>
                    <a:pt x="699" y="646"/>
                  </a:lnTo>
                  <a:lnTo>
                    <a:pt x="786" y="646"/>
                  </a:lnTo>
                  <a:lnTo>
                    <a:pt x="908" y="483"/>
                  </a:lnTo>
                  <a:lnTo>
                    <a:pt x="1173" y="408"/>
                  </a:lnTo>
                  <a:lnTo>
                    <a:pt x="1260" y="330"/>
                  </a:lnTo>
                  <a:lnTo>
                    <a:pt x="1232" y="180"/>
                  </a:lnTo>
                  <a:lnTo>
                    <a:pt x="1342" y="94"/>
                  </a:lnTo>
                  <a:lnTo>
                    <a:pt x="1401" y="66"/>
                  </a:lnTo>
                  <a:lnTo>
                    <a:pt x="1421" y="0"/>
                  </a:lnTo>
                  <a:lnTo>
                    <a:pt x="1768" y="0"/>
                  </a:lnTo>
                  <a:lnTo>
                    <a:pt x="1996" y="220"/>
                  </a:lnTo>
                  <a:lnTo>
                    <a:pt x="2402" y="342"/>
                  </a:lnTo>
                  <a:lnTo>
                    <a:pt x="2402" y="342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72" name="Freeform 23">
              <a:extLst>
                <a:ext uri="{FF2B5EF4-FFF2-40B4-BE49-F238E27FC236}">
                  <a16:creationId xmlns:a16="http://schemas.microsoft.com/office/drawing/2014/main" id="{5A4D3FD4-BC6F-42B8-82E7-28E57EB33697}"/>
                </a:ext>
              </a:extLst>
            </p:cNvPr>
            <p:cNvSpPr>
              <a:spLocks/>
            </p:cNvSpPr>
            <p:nvPr/>
          </p:nvSpPr>
          <p:spPr bwMode="gray">
            <a:xfrm>
              <a:off x="990600" y="2149658"/>
              <a:ext cx="1024787" cy="437815"/>
            </a:xfrm>
            <a:custGeom>
              <a:avLst/>
              <a:gdLst/>
              <a:ahLst/>
              <a:cxnLst>
                <a:cxn ang="0">
                  <a:pos x="3166" y="1037"/>
                </a:cxn>
                <a:cxn ang="0">
                  <a:pos x="2759" y="859"/>
                </a:cxn>
                <a:cxn ang="0">
                  <a:pos x="1513" y="350"/>
                </a:cxn>
                <a:cxn ang="0">
                  <a:pos x="520" y="169"/>
                </a:cxn>
                <a:cxn ang="0">
                  <a:pos x="98" y="0"/>
                </a:cxn>
                <a:cxn ang="0">
                  <a:pos x="99" y="0"/>
                </a:cxn>
                <a:cxn ang="0">
                  <a:pos x="94" y="141"/>
                </a:cxn>
                <a:cxn ang="0">
                  <a:pos x="15" y="181"/>
                </a:cxn>
                <a:cxn ang="0">
                  <a:pos x="0" y="264"/>
                </a:cxn>
                <a:cxn ang="0">
                  <a:pos x="129" y="358"/>
                </a:cxn>
                <a:cxn ang="0">
                  <a:pos x="94" y="405"/>
                </a:cxn>
                <a:cxn ang="0">
                  <a:pos x="189" y="527"/>
                </a:cxn>
                <a:cxn ang="0">
                  <a:pos x="311" y="689"/>
                </a:cxn>
                <a:cxn ang="0">
                  <a:pos x="440" y="823"/>
                </a:cxn>
                <a:cxn ang="0">
                  <a:pos x="481" y="937"/>
                </a:cxn>
                <a:cxn ang="0">
                  <a:pos x="406" y="1039"/>
                </a:cxn>
                <a:cxn ang="0">
                  <a:pos x="425" y="1059"/>
                </a:cxn>
                <a:cxn ang="0">
                  <a:pos x="772" y="1079"/>
                </a:cxn>
                <a:cxn ang="0">
                  <a:pos x="906" y="1303"/>
                </a:cxn>
                <a:cxn ang="0">
                  <a:pos x="1162" y="1296"/>
                </a:cxn>
                <a:cxn ang="0">
                  <a:pos x="1501" y="1019"/>
                </a:cxn>
                <a:cxn ang="0">
                  <a:pos x="1548" y="1095"/>
                </a:cxn>
                <a:cxn ang="0">
                  <a:pos x="1521" y="1201"/>
                </a:cxn>
                <a:cxn ang="0">
                  <a:pos x="1569" y="1701"/>
                </a:cxn>
                <a:cxn ang="0">
                  <a:pos x="1662" y="1740"/>
                </a:cxn>
                <a:cxn ang="0">
                  <a:pos x="1805" y="1674"/>
                </a:cxn>
                <a:cxn ang="0">
                  <a:pos x="2021" y="1653"/>
                </a:cxn>
                <a:cxn ang="0">
                  <a:pos x="2317" y="1662"/>
                </a:cxn>
                <a:cxn ang="0">
                  <a:pos x="2373" y="1709"/>
                </a:cxn>
                <a:cxn ang="0">
                  <a:pos x="2541" y="1634"/>
                </a:cxn>
                <a:cxn ang="0">
                  <a:pos x="2648" y="1492"/>
                </a:cxn>
                <a:cxn ang="0">
                  <a:pos x="2790" y="1485"/>
                </a:cxn>
                <a:cxn ang="0">
                  <a:pos x="2837" y="1417"/>
                </a:cxn>
                <a:cxn ang="0">
                  <a:pos x="3073" y="1257"/>
                </a:cxn>
                <a:cxn ang="0">
                  <a:pos x="3331" y="1110"/>
                </a:cxn>
                <a:cxn ang="0">
                  <a:pos x="3166" y="1037"/>
                </a:cxn>
                <a:cxn ang="0">
                  <a:pos x="3166" y="1037"/>
                </a:cxn>
              </a:cxnLst>
              <a:rect l="0" t="0" r="r" b="b"/>
              <a:pathLst>
                <a:path w="3331" h="1740">
                  <a:moveTo>
                    <a:pt x="3166" y="1037"/>
                  </a:moveTo>
                  <a:lnTo>
                    <a:pt x="2759" y="859"/>
                  </a:lnTo>
                  <a:lnTo>
                    <a:pt x="1513" y="350"/>
                  </a:lnTo>
                  <a:lnTo>
                    <a:pt x="520" y="169"/>
                  </a:lnTo>
                  <a:lnTo>
                    <a:pt x="98" y="0"/>
                  </a:lnTo>
                  <a:lnTo>
                    <a:pt x="99" y="0"/>
                  </a:lnTo>
                  <a:lnTo>
                    <a:pt x="94" y="141"/>
                  </a:lnTo>
                  <a:lnTo>
                    <a:pt x="15" y="181"/>
                  </a:lnTo>
                  <a:lnTo>
                    <a:pt x="0" y="264"/>
                  </a:lnTo>
                  <a:lnTo>
                    <a:pt x="129" y="358"/>
                  </a:lnTo>
                  <a:lnTo>
                    <a:pt x="94" y="405"/>
                  </a:lnTo>
                  <a:lnTo>
                    <a:pt x="189" y="527"/>
                  </a:lnTo>
                  <a:lnTo>
                    <a:pt x="311" y="689"/>
                  </a:lnTo>
                  <a:lnTo>
                    <a:pt x="440" y="823"/>
                  </a:lnTo>
                  <a:lnTo>
                    <a:pt x="481" y="937"/>
                  </a:lnTo>
                  <a:lnTo>
                    <a:pt x="406" y="1039"/>
                  </a:lnTo>
                  <a:lnTo>
                    <a:pt x="425" y="1059"/>
                  </a:lnTo>
                  <a:lnTo>
                    <a:pt x="772" y="1079"/>
                  </a:lnTo>
                  <a:lnTo>
                    <a:pt x="906" y="1303"/>
                  </a:lnTo>
                  <a:lnTo>
                    <a:pt x="1162" y="1296"/>
                  </a:lnTo>
                  <a:lnTo>
                    <a:pt x="1501" y="1019"/>
                  </a:lnTo>
                  <a:lnTo>
                    <a:pt x="1548" y="1095"/>
                  </a:lnTo>
                  <a:lnTo>
                    <a:pt x="1521" y="1201"/>
                  </a:lnTo>
                  <a:lnTo>
                    <a:pt x="1569" y="1701"/>
                  </a:lnTo>
                  <a:lnTo>
                    <a:pt x="1662" y="1740"/>
                  </a:lnTo>
                  <a:lnTo>
                    <a:pt x="1805" y="1674"/>
                  </a:lnTo>
                  <a:lnTo>
                    <a:pt x="2021" y="1653"/>
                  </a:lnTo>
                  <a:lnTo>
                    <a:pt x="2317" y="1662"/>
                  </a:lnTo>
                  <a:lnTo>
                    <a:pt x="2373" y="1709"/>
                  </a:lnTo>
                  <a:lnTo>
                    <a:pt x="2541" y="1634"/>
                  </a:lnTo>
                  <a:lnTo>
                    <a:pt x="2648" y="1492"/>
                  </a:lnTo>
                  <a:lnTo>
                    <a:pt x="2790" y="1485"/>
                  </a:lnTo>
                  <a:lnTo>
                    <a:pt x="2837" y="1417"/>
                  </a:lnTo>
                  <a:lnTo>
                    <a:pt x="3073" y="1257"/>
                  </a:lnTo>
                  <a:lnTo>
                    <a:pt x="3331" y="1110"/>
                  </a:lnTo>
                  <a:lnTo>
                    <a:pt x="3166" y="1037"/>
                  </a:lnTo>
                  <a:lnTo>
                    <a:pt x="3166" y="103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73" name="Freeform 24">
              <a:extLst>
                <a:ext uri="{FF2B5EF4-FFF2-40B4-BE49-F238E27FC236}">
                  <a16:creationId xmlns:a16="http://schemas.microsoft.com/office/drawing/2014/main" id="{3FAFA6E0-8205-45E7-AE06-E2766345FFAA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0472" y="1023848"/>
              <a:ext cx="2353320" cy="1389889"/>
            </a:xfrm>
            <a:custGeom>
              <a:avLst/>
              <a:gdLst/>
              <a:ahLst/>
              <a:cxnLst>
                <a:cxn ang="0">
                  <a:pos x="2855" y="605"/>
                </a:cxn>
                <a:cxn ang="0">
                  <a:pos x="2672" y="190"/>
                </a:cxn>
                <a:cxn ang="0">
                  <a:pos x="2351" y="284"/>
                </a:cxn>
                <a:cxn ang="0">
                  <a:pos x="2276" y="352"/>
                </a:cxn>
                <a:cxn ang="0">
                  <a:pos x="2181" y="407"/>
                </a:cxn>
                <a:cxn ang="0">
                  <a:pos x="1599" y="685"/>
                </a:cxn>
                <a:cxn ang="0">
                  <a:pos x="1837" y="731"/>
                </a:cxn>
                <a:cxn ang="0">
                  <a:pos x="1857" y="890"/>
                </a:cxn>
                <a:cxn ang="0">
                  <a:pos x="1517" y="950"/>
                </a:cxn>
                <a:cxn ang="0">
                  <a:pos x="1722" y="1452"/>
                </a:cxn>
                <a:cxn ang="0">
                  <a:pos x="1809" y="1716"/>
                </a:cxn>
                <a:cxn ang="0">
                  <a:pos x="1592" y="3094"/>
                </a:cxn>
                <a:cxn ang="0">
                  <a:pos x="1437" y="3085"/>
                </a:cxn>
                <a:cxn ang="0">
                  <a:pos x="1172" y="3201"/>
                </a:cxn>
                <a:cxn ang="0">
                  <a:pos x="336" y="3616"/>
                </a:cxn>
                <a:cxn ang="0">
                  <a:pos x="222" y="3995"/>
                </a:cxn>
                <a:cxn ang="0">
                  <a:pos x="4" y="4403"/>
                </a:cxn>
                <a:cxn ang="0">
                  <a:pos x="0" y="4490"/>
                </a:cxn>
                <a:cxn ang="0">
                  <a:pos x="1421" y="4842"/>
                </a:cxn>
                <a:cxn ang="0">
                  <a:pos x="3081" y="5533"/>
                </a:cxn>
                <a:cxn ang="0">
                  <a:pos x="3464" y="5318"/>
                </a:cxn>
                <a:cxn ang="0">
                  <a:pos x="3785" y="5289"/>
                </a:cxn>
                <a:cxn ang="0">
                  <a:pos x="3995" y="5127"/>
                </a:cxn>
                <a:cxn ang="0">
                  <a:pos x="4346" y="4973"/>
                </a:cxn>
                <a:cxn ang="0">
                  <a:pos x="4430" y="4736"/>
                </a:cxn>
                <a:cxn ang="0">
                  <a:pos x="4510" y="4641"/>
                </a:cxn>
                <a:cxn ang="0">
                  <a:pos x="5087" y="4862"/>
                </a:cxn>
                <a:cxn ang="0">
                  <a:pos x="6805" y="4917"/>
                </a:cxn>
                <a:cxn ang="0">
                  <a:pos x="6846" y="4546"/>
                </a:cxn>
                <a:cxn ang="0">
                  <a:pos x="6942" y="4273"/>
                </a:cxn>
                <a:cxn ang="0">
                  <a:pos x="7150" y="3248"/>
                </a:cxn>
                <a:cxn ang="0">
                  <a:pos x="7537" y="1887"/>
                </a:cxn>
                <a:cxn ang="0">
                  <a:pos x="7206" y="1737"/>
                </a:cxn>
                <a:cxn ang="0">
                  <a:pos x="6607" y="1242"/>
                </a:cxn>
                <a:cxn ang="0">
                  <a:pos x="6160" y="874"/>
                </a:cxn>
                <a:cxn ang="0">
                  <a:pos x="6010" y="1044"/>
                </a:cxn>
                <a:cxn ang="0">
                  <a:pos x="5875" y="1289"/>
                </a:cxn>
                <a:cxn ang="0">
                  <a:pos x="5602" y="1262"/>
                </a:cxn>
                <a:cxn ang="0">
                  <a:pos x="5365" y="1310"/>
                </a:cxn>
                <a:cxn ang="0">
                  <a:pos x="5238" y="1614"/>
                </a:cxn>
                <a:cxn ang="0">
                  <a:pos x="4906" y="1310"/>
                </a:cxn>
                <a:cxn ang="0">
                  <a:pos x="4964" y="1159"/>
                </a:cxn>
                <a:cxn ang="0">
                  <a:pos x="4660" y="150"/>
                </a:cxn>
                <a:cxn ang="0">
                  <a:pos x="4489" y="75"/>
                </a:cxn>
                <a:cxn ang="0">
                  <a:pos x="4193" y="332"/>
                </a:cxn>
                <a:cxn ang="0">
                  <a:pos x="4034" y="415"/>
                </a:cxn>
                <a:cxn ang="0">
                  <a:pos x="3730" y="589"/>
                </a:cxn>
                <a:cxn ang="0">
                  <a:pos x="3547" y="815"/>
                </a:cxn>
                <a:cxn ang="0">
                  <a:pos x="3512" y="673"/>
                </a:cxn>
                <a:cxn ang="0">
                  <a:pos x="3349" y="740"/>
                </a:cxn>
                <a:cxn ang="0">
                  <a:pos x="2921" y="589"/>
                </a:cxn>
              </a:cxnLst>
              <a:rect l="0" t="0" r="r" b="b"/>
              <a:pathLst>
                <a:path w="7653" h="5533">
                  <a:moveTo>
                    <a:pt x="2921" y="589"/>
                  </a:moveTo>
                  <a:lnTo>
                    <a:pt x="2855" y="605"/>
                  </a:lnTo>
                  <a:lnTo>
                    <a:pt x="2712" y="237"/>
                  </a:lnTo>
                  <a:lnTo>
                    <a:pt x="2672" y="190"/>
                  </a:lnTo>
                  <a:lnTo>
                    <a:pt x="2466" y="368"/>
                  </a:lnTo>
                  <a:lnTo>
                    <a:pt x="2351" y="284"/>
                  </a:lnTo>
                  <a:lnTo>
                    <a:pt x="2304" y="284"/>
                  </a:lnTo>
                  <a:lnTo>
                    <a:pt x="2276" y="352"/>
                  </a:lnTo>
                  <a:lnTo>
                    <a:pt x="2292" y="368"/>
                  </a:lnTo>
                  <a:lnTo>
                    <a:pt x="2181" y="407"/>
                  </a:lnTo>
                  <a:lnTo>
                    <a:pt x="1611" y="427"/>
                  </a:lnTo>
                  <a:lnTo>
                    <a:pt x="1599" y="685"/>
                  </a:lnTo>
                  <a:lnTo>
                    <a:pt x="1706" y="712"/>
                  </a:lnTo>
                  <a:lnTo>
                    <a:pt x="1837" y="731"/>
                  </a:lnTo>
                  <a:lnTo>
                    <a:pt x="1884" y="835"/>
                  </a:lnTo>
                  <a:lnTo>
                    <a:pt x="1857" y="890"/>
                  </a:lnTo>
                  <a:lnTo>
                    <a:pt x="1715" y="862"/>
                  </a:lnTo>
                  <a:lnTo>
                    <a:pt x="1517" y="950"/>
                  </a:lnTo>
                  <a:lnTo>
                    <a:pt x="1524" y="1281"/>
                  </a:lnTo>
                  <a:lnTo>
                    <a:pt x="1722" y="1452"/>
                  </a:lnTo>
                  <a:lnTo>
                    <a:pt x="1722" y="1586"/>
                  </a:lnTo>
                  <a:lnTo>
                    <a:pt x="1809" y="1716"/>
                  </a:lnTo>
                  <a:lnTo>
                    <a:pt x="1659" y="2964"/>
                  </a:lnTo>
                  <a:lnTo>
                    <a:pt x="1592" y="3094"/>
                  </a:lnTo>
                  <a:lnTo>
                    <a:pt x="1551" y="3161"/>
                  </a:lnTo>
                  <a:lnTo>
                    <a:pt x="1437" y="3085"/>
                  </a:lnTo>
                  <a:lnTo>
                    <a:pt x="1232" y="3106"/>
                  </a:lnTo>
                  <a:lnTo>
                    <a:pt x="1172" y="3201"/>
                  </a:lnTo>
                  <a:lnTo>
                    <a:pt x="764" y="3304"/>
                  </a:lnTo>
                  <a:lnTo>
                    <a:pt x="336" y="3616"/>
                  </a:lnTo>
                  <a:lnTo>
                    <a:pt x="329" y="3778"/>
                  </a:lnTo>
                  <a:lnTo>
                    <a:pt x="222" y="3995"/>
                  </a:lnTo>
                  <a:lnTo>
                    <a:pt x="242" y="4225"/>
                  </a:lnTo>
                  <a:lnTo>
                    <a:pt x="4" y="4403"/>
                  </a:lnTo>
                  <a:lnTo>
                    <a:pt x="1" y="4490"/>
                  </a:lnTo>
                  <a:lnTo>
                    <a:pt x="0" y="4490"/>
                  </a:lnTo>
                  <a:lnTo>
                    <a:pt x="423" y="4661"/>
                  </a:lnTo>
                  <a:lnTo>
                    <a:pt x="1421" y="4842"/>
                  </a:lnTo>
                  <a:lnTo>
                    <a:pt x="2672" y="5353"/>
                  </a:lnTo>
                  <a:lnTo>
                    <a:pt x="3081" y="5533"/>
                  </a:lnTo>
                  <a:lnTo>
                    <a:pt x="3338" y="5325"/>
                  </a:lnTo>
                  <a:lnTo>
                    <a:pt x="3464" y="5318"/>
                  </a:lnTo>
                  <a:lnTo>
                    <a:pt x="3595" y="5364"/>
                  </a:lnTo>
                  <a:lnTo>
                    <a:pt x="3785" y="5289"/>
                  </a:lnTo>
                  <a:lnTo>
                    <a:pt x="3872" y="5289"/>
                  </a:lnTo>
                  <a:lnTo>
                    <a:pt x="3995" y="5127"/>
                  </a:lnTo>
                  <a:lnTo>
                    <a:pt x="4259" y="5052"/>
                  </a:lnTo>
                  <a:lnTo>
                    <a:pt x="4346" y="4973"/>
                  </a:lnTo>
                  <a:lnTo>
                    <a:pt x="4319" y="4823"/>
                  </a:lnTo>
                  <a:lnTo>
                    <a:pt x="4430" y="4736"/>
                  </a:lnTo>
                  <a:lnTo>
                    <a:pt x="4489" y="4708"/>
                  </a:lnTo>
                  <a:lnTo>
                    <a:pt x="4510" y="4641"/>
                  </a:lnTo>
                  <a:lnTo>
                    <a:pt x="4858" y="4641"/>
                  </a:lnTo>
                  <a:lnTo>
                    <a:pt x="5087" y="4862"/>
                  </a:lnTo>
                  <a:lnTo>
                    <a:pt x="5495" y="4985"/>
                  </a:lnTo>
                  <a:lnTo>
                    <a:pt x="6805" y="4917"/>
                  </a:lnTo>
                  <a:lnTo>
                    <a:pt x="6846" y="4708"/>
                  </a:lnTo>
                  <a:lnTo>
                    <a:pt x="6846" y="4546"/>
                  </a:lnTo>
                  <a:lnTo>
                    <a:pt x="6853" y="4451"/>
                  </a:lnTo>
                  <a:lnTo>
                    <a:pt x="6942" y="4273"/>
                  </a:lnTo>
                  <a:lnTo>
                    <a:pt x="6817" y="4043"/>
                  </a:lnTo>
                  <a:lnTo>
                    <a:pt x="7150" y="3248"/>
                  </a:lnTo>
                  <a:lnTo>
                    <a:pt x="7653" y="1982"/>
                  </a:lnTo>
                  <a:lnTo>
                    <a:pt x="7537" y="1887"/>
                  </a:lnTo>
                  <a:lnTo>
                    <a:pt x="7312" y="1737"/>
                  </a:lnTo>
                  <a:lnTo>
                    <a:pt x="7206" y="1737"/>
                  </a:lnTo>
                  <a:lnTo>
                    <a:pt x="6912" y="1697"/>
                  </a:lnTo>
                  <a:lnTo>
                    <a:pt x="6607" y="1242"/>
                  </a:lnTo>
                  <a:lnTo>
                    <a:pt x="6564" y="850"/>
                  </a:lnTo>
                  <a:lnTo>
                    <a:pt x="6160" y="874"/>
                  </a:lnTo>
                  <a:lnTo>
                    <a:pt x="6030" y="950"/>
                  </a:lnTo>
                  <a:lnTo>
                    <a:pt x="6010" y="1044"/>
                  </a:lnTo>
                  <a:lnTo>
                    <a:pt x="5903" y="1127"/>
                  </a:lnTo>
                  <a:lnTo>
                    <a:pt x="5875" y="1289"/>
                  </a:lnTo>
                  <a:lnTo>
                    <a:pt x="5745" y="1365"/>
                  </a:lnTo>
                  <a:lnTo>
                    <a:pt x="5602" y="1262"/>
                  </a:lnTo>
                  <a:lnTo>
                    <a:pt x="5515" y="1223"/>
                  </a:lnTo>
                  <a:lnTo>
                    <a:pt x="5365" y="1310"/>
                  </a:lnTo>
                  <a:lnTo>
                    <a:pt x="5305" y="1566"/>
                  </a:lnTo>
                  <a:lnTo>
                    <a:pt x="5238" y="1614"/>
                  </a:lnTo>
                  <a:lnTo>
                    <a:pt x="4889" y="1329"/>
                  </a:lnTo>
                  <a:lnTo>
                    <a:pt x="4906" y="1310"/>
                  </a:lnTo>
                  <a:lnTo>
                    <a:pt x="4945" y="1281"/>
                  </a:lnTo>
                  <a:lnTo>
                    <a:pt x="4964" y="1159"/>
                  </a:lnTo>
                  <a:lnTo>
                    <a:pt x="4897" y="598"/>
                  </a:lnTo>
                  <a:lnTo>
                    <a:pt x="4660" y="150"/>
                  </a:lnTo>
                  <a:lnTo>
                    <a:pt x="4510" y="0"/>
                  </a:lnTo>
                  <a:lnTo>
                    <a:pt x="4489" y="75"/>
                  </a:lnTo>
                  <a:lnTo>
                    <a:pt x="4204" y="245"/>
                  </a:lnTo>
                  <a:lnTo>
                    <a:pt x="4193" y="332"/>
                  </a:lnTo>
                  <a:lnTo>
                    <a:pt x="4097" y="463"/>
                  </a:lnTo>
                  <a:lnTo>
                    <a:pt x="4034" y="415"/>
                  </a:lnTo>
                  <a:lnTo>
                    <a:pt x="3919" y="511"/>
                  </a:lnTo>
                  <a:lnTo>
                    <a:pt x="3730" y="589"/>
                  </a:lnTo>
                  <a:lnTo>
                    <a:pt x="3710" y="644"/>
                  </a:lnTo>
                  <a:lnTo>
                    <a:pt x="3547" y="815"/>
                  </a:lnTo>
                  <a:lnTo>
                    <a:pt x="3500" y="795"/>
                  </a:lnTo>
                  <a:lnTo>
                    <a:pt x="3512" y="673"/>
                  </a:lnTo>
                  <a:lnTo>
                    <a:pt x="3472" y="664"/>
                  </a:lnTo>
                  <a:lnTo>
                    <a:pt x="3349" y="740"/>
                  </a:lnTo>
                  <a:lnTo>
                    <a:pt x="3227" y="787"/>
                  </a:lnTo>
                  <a:lnTo>
                    <a:pt x="2921" y="589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74" name="Freeform 25">
              <a:extLst>
                <a:ext uri="{FF2B5EF4-FFF2-40B4-BE49-F238E27FC236}">
                  <a16:creationId xmlns:a16="http://schemas.microsoft.com/office/drawing/2014/main" id="{B54AC328-6989-4C81-B425-6388CFE906DF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3729" y="778301"/>
              <a:ext cx="672782" cy="613868"/>
            </a:xfrm>
            <a:custGeom>
              <a:avLst/>
              <a:gdLst/>
              <a:ahLst/>
              <a:cxnLst>
                <a:cxn ang="0">
                  <a:pos x="115" y="910"/>
                </a:cxn>
                <a:cxn ang="0">
                  <a:pos x="0" y="901"/>
                </a:cxn>
                <a:cxn ang="0">
                  <a:pos x="0" y="1024"/>
                </a:cxn>
                <a:cxn ang="0">
                  <a:pos x="28" y="1099"/>
                </a:cxn>
                <a:cxn ang="0">
                  <a:pos x="150" y="1119"/>
                </a:cxn>
                <a:cxn ang="0">
                  <a:pos x="313" y="1234"/>
                </a:cxn>
                <a:cxn ang="0">
                  <a:pos x="542" y="1309"/>
                </a:cxn>
                <a:cxn ang="0">
                  <a:pos x="590" y="1415"/>
                </a:cxn>
                <a:cxn ang="0">
                  <a:pos x="733" y="1586"/>
                </a:cxn>
                <a:cxn ang="0">
                  <a:pos x="721" y="1681"/>
                </a:cxn>
                <a:cxn ang="0">
                  <a:pos x="800" y="1966"/>
                </a:cxn>
                <a:cxn ang="0">
                  <a:pos x="911" y="2021"/>
                </a:cxn>
                <a:cxn ang="0">
                  <a:pos x="950" y="2096"/>
                </a:cxn>
                <a:cxn ang="0">
                  <a:pos x="1064" y="2366"/>
                </a:cxn>
                <a:cxn ang="0">
                  <a:pos x="1303" y="2441"/>
                </a:cxn>
                <a:cxn ang="0">
                  <a:pos x="1385" y="2373"/>
                </a:cxn>
                <a:cxn ang="0">
                  <a:pos x="1433" y="2238"/>
                </a:cxn>
                <a:cxn ang="0">
                  <a:pos x="1472" y="2183"/>
                </a:cxn>
                <a:cxn ang="0">
                  <a:pos x="1595" y="2081"/>
                </a:cxn>
                <a:cxn ang="0">
                  <a:pos x="1588" y="1973"/>
                </a:cxn>
                <a:cxn ang="0">
                  <a:pos x="1832" y="1843"/>
                </a:cxn>
                <a:cxn ang="0">
                  <a:pos x="1967" y="1661"/>
                </a:cxn>
                <a:cxn ang="0">
                  <a:pos x="2177" y="1444"/>
                </a:cxn>
                <a:cxn ang="0">
                  <a:pos x="2185" y="1321"/>
                </a:cxn>
                <a:cxn ang="0">
                  <a:pos x="2129" y="1206"/>
                </a:cxn>
                <a:cxn ang="0">
                  <a:pos x="1919" y="1111"/>
                </a:cxn>
                <a:cxn ang="0">
                  <a:pos x="1853" y="1044"/>
                </a:cxn>
                <a:cxn ang="0">
                  <a:pos x="1825" y="957"/>
                </a:cxn>
                <a:cxn ang="0">
                  <a:pos x="1766" y="826"/>
                </a:cxn>
                <a:cxn ang="0">
                  <a:pos x="1595" y="133"/>
                </a:cxn>
                <a:cxn ang="0">
                  <a:pos x="1445" y="0"/>
                </a:cxn>
                <a:cxn ang="0">
                  <a:pos x="1397" y="94"/>
                </a:cxn>
                <a:cxn ang="0">
                  <a:pos x="1358" y="189"/>
                </a:cxn>
                <a:cxn ang="0">
                  <a:pos x="1228" y="360"/>
                </a:cxn>
                <a:cxn ang="0">
                  <a:pos x="970" y="846"/>
                </a:cxn>
                <a:cxn ang="0">
                  <a:pos x="855" y="957"/>
                </a:cxn>
                <a:cxn ang="0">
                  <a:pos x="733" y="988"/>
                </a:cxn>
                <a:cxn ang="0">
                  <a:pos x="645" y="922"/>
                </a:cxn>
                <a:cxn ang="0">
                  <a:pos x="542" y="941"/>
                </a:cxn>
                <a:cxn ang="0">
                  <a:pos x="447" y="910"/>
                </a:cxn>
                <a:cxn ang="0">
                  <a:pos x="360" y="957"/>
                </a:cxn>
                <a:cxn ang="0">
                  <a:pos x="218" y="988"/>
                </a:cxn>
                <a:cxn ang="0">
                  <a:pos x="115" y="910"/>
                </a:cxn>
              </a:cxnLst>
              <a:rect l="0" t="0" r="r" b="b"/>
              <a:pathLst>
                <a:path w="2185" h="2441">
                  <a:moveTo>
                    <a:pt x="115" y="910"/>
                  </a:moveTo>
                  <a:lnTo>
                    <a:pt x="0" y="901"/>
                  </a:lnTo>
                  <a:lnTo>
                    <a:pt x="0" y="1024"/>
                  </a:lnTo>
                  <a:lnTo>
                    <a:pt x="28" y="1099"/>
                  </a:lnTo>
                  <a:lnTo>
                    <a:pt x="150" y="1119"/>
                  </a:lnTo>
                  <a:lnTo>
                    <a:pt x="313" y="1234"/>
                  </a:lnTo>
                  <a:lnTo>
                    <a:pt x="542" y="1309"/>
                  </a:lnTo>
                  <a:lnTo>
                    <a:pt x="590" y="1415"/>
                  </a:lnTo>
                  <a:lnTo>
                    <a:pt x="733" y="1586"/>
                  </a:lnTo>
                  <a:lnTo>
                    <a:pt x="721" y="1681"/>
                  </a:lnTo>
                  <a:lnTo>
                    <a:pt x="800" y="1966"/>
                  </a:lnTo>
                  <a:lnTo>
                    <a:pt x="911" y="2021"/>
                  </a:lnTo>
                  <a:lnTo>
                    <a:pt x="950" y="2096"/>
                  </a:lnTo>
                  <a:lnTo>
                    <a:pt x="1064" y="2366"/>
                  </a:lnTo>
                  <a:lnTo>
                    <a:pt x="1303" y="2441"/>
                  </a:lnTo>
                  <a:lnTo>
                    <a:pt x="1385" y="2373"/>
                  </a:lnTo>
                  <a:lnTo>
                    <a:pt x="1433" y="2238"/>
                  </a:lnTo>
                  <a:lnTo>
                    <a:pt x="1472" y="2183"/>
                  </a:lnTo>
                  <a:lnTo>
                    <a:pt x="1595" y="2081"/>
                  </a:lnTo>
                  <a:lnTo>
                    <a:pt x="1588" y="1973"/>
                  </a:lnTo>
                  <a:lnTo>
                    <a:pt x="1832" y="1843"/>
                  </a:lnTo>
                  <a:lnTo>
                    <a:pt x="1967" y="1661"/>
                  </a:lnTo>
                  <a:lnTo>
                    <a:pt x="2177" y="1444"/>
                  </a:lnTo>
                  <a:lnTo>
                    <a:pt x="2185" y="1321"/>
                  </a:lnTo>
                  <a:lnTo>
                    <a:pt x="2129" y="1206"/>
                  </a:lnTo>
                  <a:lnTo>
                    <a:pt x="1919" y="1111"/>
                  </a:lnTo>
                  <a:lnTo>
                    <a:pt x="1853" y="1044"/>
                  </a:lnTo>
                  <a:lnTo>
                    <a:pt x="1825" y="957"/>
                  </a:lnTo>
                  <a:lnTo>
                    <a:pt x="1766" y="826"/>
                  </a:lnTo>
                  <a:lnTo>
                    <a:pt x="1595" y="133"/>
                  </a:lnTo>
                  <a:lnTo>
                    <a:pt x="1445" y="0"/>
                  </a:lnTo>
                  <a:lnTo>
                    <a:pt x="1397" y="94"/>
                  </a:lnTo>
                  <a:lnTo>
                    <a:pt x="1358" y="189"/>
                  </a:lnTo>
                  <a:lnTo>
                    <a:pt x="1228" y="360"/>
                  </a:lnTo>
                  <a:lnTo>
                    <a:pt x="970" y="846"/>
                  </a:lnTo>
                  <a:lnTo>
                    <a:pt x="855" y="957"/>
                  </a:lnTo>
                  <a:lnTo>
                    <a:pt x="733" y="988"/>
                  </a:lnTo>
                  <a:lnTo>
                    <a:pt x="645" y="922"/>
                  </a:lnTo>
                  <a:lnTo>
                    <a:pt x="542" y="941"/>
                  </a:lnTo>
                  <a:lnTo>
                    <a:pt x="447" y="910"/>
                  </a:lnTo>
                  <a:lnTo>
                    <a:pt x="360" y="957"/>
                  </a:lnTo>
                  <a:lnTo>
                    <a:pt x="218" y="988"/>
                  </a:lnTo>
                  <a:lnTo>
                    <a:pt x="115" y="91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75" name="Freeform 26">
              <a:extLst>
                <a:ext uri="{FF2B5EF4-FFF2-40B4-BE49-F238E27FC236}">
                  <a16:creationId xmlns:a16="http://schemas.microsoft.com/office/drawing/2014/main" id="{CC51AB1A-C7D3-4DAC-A2B6-D823D00B45D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61885" y="2318761"/>
              <a:ext cx="403102" cy="183002"/>
            </a:xfrm>
            <a:custGeom>
              <a:avLst/>
              <a:gdLst/>
              <a:ahLst/>
              <a:cxnLst>
                <a:cxn ang="0">
                  <a:pos x="1303" y="75"/>
                </a:cxn>
                <a:cxn ang="0">
                  <a:pos x="943" y="55"/>
                </a:cxn>
                <a:cxn ang="0">
                  <a:pos x="800" y="169"/>
                </a:cxn>
                <a:cxn ang="0">
                  <a:pos x="488" y="197"/>
                </a:cxn>
                <a:cxn ang="0">
                  <a:pos x="413" y="142"/>
                </a:cxn>
                <a:cxn ang="0">
                  <a:pos x="191" y="0"/>
                </a:cxn>
                <a:cxn ang="0">
                  <a:pos x="0" y="142"/>
                </a:cxn>
                <a:cxn ang="0">
                  <a:pos x="68" y="256"/>
                </a:cxn>
                <a:cxn ang="0">
                  <a:pos x="555" y="549"/>
                </a:cxn>
                <a:cxn ang="0">
                  <a:pos x="740" y="735"/>
                </a:cxn>
                <a:cxn ang="0">
                  <a:pos x="740" y="735"/>
                </a:cxn>
                <a:cxn ang="0">
                  <a:pos x="1236" y="256"/>
                </a:cxn>
                <a:cxn ang="0">
                  <a:pos x="1303" y="75"/>
                </a:cxn>
              </a:cxnLst>
              <a:rect l="0" t="0" r="r" b="b"/>
              <a:pathLst>
                <a:path w="1303" h="735">
                  <a:moveTo>
                    <a:pt x="1303" y="75"/>
                  </a:moveTo>
                  <a:lnTo>
                    <a:pt x="943" y="55"/>
                  </a:lnTo>
                  <a:lnTo>
                    <a:pt x="800" y="169"/>
                  </a:lnTo>
                  <a:lnTo>
                    <a:pt x="488" y="197"/>
                  </a:lnTo>
                  <a:lnTo>
                    <a:pt x="413" y="142"/>
                  </a:lnTo>
                  <a:lnTo>
                    <a:pt x="191" y="0"/>
                  </a:lnTo>
                  <a:lnTo>
                    <a:pt x="0" y="142"/>
                  </a:lnTo>
                  <a:lnTo>
                    <a:pt x="68" y="256"/>
                  </a:lnTo>
                  <a:lnTo>
                    <a:pt x="555" y="549"/>
                  </a:lnTo>
                  <a:lnTo>
                    <a:pt x="740" y="735"/>
                  </a:lnTo>
                  <a:lnTo>
                    <a:pt x="740" y="735"/>
                  </a:lnTo>
                  <a:lnTo>
                    <a:pt x="1236" y="256"/>
                  </a:lnTo>
                  <a:lnTo>
                    <a:pt x="1303" y="75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76" name="Freeform 27">
              <a:extLst>
                <a:ext uri="{FF2B5EF4-FFF2-40B4-BE49-F238E27FC236}">
                  <a16:creationId xmlns:a16="http://schemas.microsoft.com/office/drawing/2014/main" id="{6D02F0C7-C20C-44C8-A5D6-C31B7851693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2271" y="1992137"/>
              <a:ext cx="522329" cy="254812"/>
            </a:xfrm>
            <a:custGeom>
              <a:avLst/>
              <a:gdLst/>
              <a:ahLst/>
              <a:cxnLst>
                <a:cxn ang="0">
                  <a:pos x="1627" y="271"/>
                </a:cxn>
                <a:cxn ang="0">
                  <a:pos x="1418" y="258"/>
                </a:cxn>
                <a:cxn ang="0">
                  <a:pos x="1208" y="258"/>
                </a:cxn>
                <a:cxn ang="0">
                  <a:pos x="1053" y="163"/>
                </a:cxn>
                <a:cxn ang="0">
                  <a:pos x="990" y="210"/>
                </a:cxn>
                <a:cxn ang="0">
                  <a:pos x="943" y="408"/>
                </a:cxn>
                <a:cxn ang="0">
                  <a:pos x="884" y="427"/>
                </a:cxn>
                <a:cxn ang="0">
                  <a:pos x="828" y="352"/>
                </a:cxn>
                <a:cxn ang="0">
                  <a:pos x="674" y="345"/>
                </a:cxn>
                <a:cxn ang="0">
                  <a:pos x="579" y="297"/>
                </a:cxn>
                <a:cxn ang="0">
                  <a:pos x="579" y="229"/>
                </a:cxn>
                <a:cxn ang="0">
                  <a:pos x="674" y="67"/>
                </a:cxn>
                <a:cxn ang="0">
                  <a:pos x="674" y="12"/>
                </a:cxn>
                <a:cxn ang="0">
                  <a:pos x="645" y="0"/>
                </a:cxn>
                <a:cxn ang="0">
                  <a:pos x="420" y="76"/>
                </a:cxn>
                <a:cxn ang="0">
                  <a:pos x="294" y="190"/>
                </a:cxn>
                <a:cxn ang="0">
                  <a:pos x="87" y="147"/>
                </a:cxn>
                <a:cxn ang="0">
                  <a:pos x="0" y="408"/>
                </a:cxn>
                <a:cxn ang="0">
                  <a:pos x="87" y="562"/>
                </a:cxn>
                <a:cxn ang="0">
                  <a:pos x="0" y="693"/>
                </a:cxn>
                <a:cxn ang="0">
                  <a:pos x="56" y="752"/>
                </a:cxn>
                <a:cxn ang="0">
                  <a:pos x="143" y="740"/>
                </a:cxn>
                <a:cxn ang="0">
                  <a:pos x="210" y="799"/>
                </a:cxn>
                <a:cxn ang="0">
                  <a:pos x="372" y="733"/>
                </a:cxn>
                <a:cxn ang="0">
                  <a:pos x="626" y="550"/>
                </a:cxn>
                <a:cxn ang="0">
                  <a:pos x="741" y="590"/>
                </a:cxn>
                <a:cxn ang="0">
                  <a:pos x="780" y="630"/>
                </a:cxn>
                <a:cxn ang="0">
                  <a:pos x="618" y="855"/>
                </a:cxn>
                <a:cxn ang="0">
                  <a:pos x="705" y="962"/>
                </a:cxn>
                <a:cxn ang="0">
                  <a:pos x="722" y="1018"/>
                </a:cxn>
                <a:cxn ang="0">
                  <a:pos x="828" y="1018"/>
                </a:cxn>
                <a:cxn ang="0">
                  <a:pos x="943" y="895"/>
                </a:cxn>
                <a:cxn ang="0">
                  <a:pos x="1358" y="788"/>
                </a:cxn>
                <a:cxn ang="0">
                  <a:pos x="1481" y="677"/>
                </a:cxn>
                <a:cxn ang="0">
                  <a:pos x="1703" y="610"/>
                </a:cxn>
                <a:cxn ang="0">
                  <a:pos x="1627" y="271"/>
                </a:cxn>
              </a:cxnLst>
              <a:rect l="0" t="0" r="r" b="b"/>
              <a:pathLst>
                <a:path w="1703" h="1018">
                  <a:moveTo>
                    <a:pt x="1627" y="271"/>
                  </a:moveTo>
                  <a:lnTo>
                    <a:pt x="1418" y="258"/>
                  </a:lnTo>
                  <a:lnTo>
                    <a:pt x="1208" y="258"/>
                  </a:lnTo>
                  <a:lnTo>
                    <a:pt x="1053" y="163"/>
                  </a:lnTo>
                  <a:lnTo>
                    <a:pt x="990" y="210"/>
                  </a:lnTo>
                  <a:lnTo>
                    <a:pt x="943" y="408"/>
                  </a:lnTo>
                  <a:lnTo>
                    <a:pt x="884" y="427"/>
                  </a:lnTo>
                  <a:lnTo>
                    <a:pt x="828" y="352"/>
                  </a:lnTo>
                  <a:lnTo>
                    <a:pt x="674" y="345"/>
                  </a:lnTo>
                  <a:lnTo>
                    <a:pt x="579" y="297"/>
                  </a:lnTo>
                  <a:lnTo>
                    <a:pt x="579" y="229"/>
                  </a:lnTo>
                  <a:lnTo>
                    <a:pt x="674" y="67"/>
                  </a:lnTo>
                  <a:lnTo>
                    <a:pt x="674" y="12"/>
                  </a:lnTo>
                  <a:lnTo>
                    <a:pt x="645" y="0"/>
                  </a:lnTo>
                  <a:lnTo>
                    <a:pt x="420" y="76"/>
                  </a:lnTo>
                  <a:lnTo>
                    <a:pt x="294" y="190"/>
                  </a:lnTo>
                  <a:lnTo>
                    <a:pt x="87" y="147"/>
                  </a:lnTo>
                  <a:lnTo>
                    <a:pt x="0" y="408"/>
                  </a:lnTo>
                  <a:lnTo>
                    <a:pt x="87" y="562"/>
                  </a:lnTo>
                  <a:lnTo>
                    <a:pt x="0" y="693"/>
                  </a:lnTo>
                  <a:lnTo>
                    <a:pt x="56" y="752"/>
                  </a:lnTo>
                  <a:lnTo>
                    <a:pt x="143" y="740"/>
                  </a:lnTo>
                  <a:lnTo>
                    <a:pt x="210" y="799"/>
                  </a:lnTo>
                  <a:lnTo>
                    <a:pt x="372" y="733"/>
                  </a:lnTo>
                  <a:lnTo>
                    <a:pt x="626" y="550"/>
                  </a:lnTo>
                  <a:lnTo>
                    <a:pt x="741" y="590"/>
                  </a:lnTo>
                  <a:lnTo>
                    <a:pt x="780" y="630"/>
                  </a:lnTo>
                  <a:lnTo>
                    <a:pt x="618" y="855"/>
                  </a:lnTo>
                  <a:lnTo>
                    <a:pt x="705" y="962"/>
                  </a:lnTo>
                  <a:lnTo>
                    <a:pt x="722" y="1018"/>
                  </a:lnTo>
                  <a:lnTo>
                    <a:pt x="828" y="1018"/>
                  </a:lnTo>
                  <a:lnTo>
                    <a:pt x="943" y="895"/>
                  </a:lnTo>
                  <a:lnTo>
                    <a:pt x="1358" y="788"/>
                  </a:lnTo>
                  <a:lnTo>
                    <a:pt x="1481" y="677"/>
                  </a:lnTo>
                  <a:lnTo>
                    <a:pt x="1703" y="610"/>
                  </a:lnTo>
                  <a:lnTo>
                    <a:pt x="1627" y="271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77" name="Freeform 28">
              <a:extLst>
                <a:ext uri="{FF2B5EF4-FFF2-40B4-BE49-F238E27FC236}">
                  <a16:creationId xmlns:a16="http://schemas.microsoft.com/office/drawing/2014/main" id="{E3A31DE2-E36F-40F6-BB27-9486530A0B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7427" y="1616867"/>
              <a:ext cx="545039" cy="572171"/>
            </a:xfrm>
            <a:custGeom>
              <a:avLst/>
              <a:gdLst/>
              <a:ahLst/>
              <a:cxnLst>
                <a:cxn ang="0">
                  <a:pos x="1766" y="932"/>
                </a:cxn>
                <a:cxn ang="0">
                  <a:pos x="1691" y="886"/>
                </a:cxn>
                <a:cxn ang="0">
                  <a:pos x="1481" y="648"/>
                </a:cxn>
                <a:cxn ang="0">
                  <a:pos x="884" y="174"/>
                </a:cxn>
                <a:cxn ang="0">
                  <a:pos x="495" y="0"/>
                </a:cxn>
                <a:cxn ang="0">
                  <a:pos x="40" y="39"/>
                </a:cxn>
                <a:cxn ang="0">
                  <a:pos x="0" y="162"/>
                </a:cxn>
                <a:cxn ang="0">
                  <a:pos x="40" y="221"/>
                </a:cxn>
                <a:cxn ang="0">
                  <a:pos x="9" y="269"/>
                </a:cxn>
                <a:cxn ang="0">
                  <a:pos x="123" y="590"/>
                </a:cxn>
                <a:cxn ang="0">
                  <a:pos x="68" y="744"/>
                </a:cxn>
                <a:cxn ang="0">
                  <a:pos x="87" y="839"/>
                </a:cxn>
                <a:cxn ang="0">
                  <a:pos x="123" y="1104"/>
                </a:cxn>
                <a:cxn ang="0">
                  <a:pos x="230" y="1587"/>
                </a:cxn>
                <a:cxn ang="0">
                  <a:pos x="381" y="1796"/>
                </a:cxn>
                <a:cxn ang="0">
                  <a:pos x="296" y="2025"/>
                </a:cxn>
                <a:cxn ang="0">
                  <a:pos x="780" y="2073"/>
                </a:cxn>
                <a:cxn ang="0">
                  <a:pos x="990" y="2279"/>
                </a:cxn>
                <a:cxn ang="0">
                  <a:pos x="1140" y="2184"/>
                </a:cxn>
                <a:cxn ang="0">
                  <a:pos x="1227" y="2053"/>
                </a:cxn>
                <a:cxn ang="0">
                  <a:pos x="1140" y="1899"/>
                </a:cxn>
                <a:cxn ang="0">
                  <a:pos x="1227" y="1638"/>
                </a:cxn>
                <a:cxn ang="0">
                  <a:pos x="1275" y="1491"/>
                </a:cxn>
                <a:cxn ang="0">
                  <a:pos x="1350" y="1491"/>
                </a:cxn>
                <a:cxn ang="0">
                  <a:pos x="1560" y="1151"/>
                </a:cxn>
                <a:cxn ang="0">
                  <a:pos x="1766" y="933"/>
                </a:cxn>
                <a:cxn ang="0">
                  <a:pos x="1766" y="932"/>
                </a:cxn>
              </a:cxnLst>
              <a:rect l="0" t="0" r="r" b="b"/>
              <a:pathLst>
                <a:path w="1766" h="2279">
                  <a:moveTo>
                    <a:pt x="1766" y="932"/>
                  </a:moveTo>
                  <a:lnTo>
                    <a:pt x="1691" y="886"/>
                  </a:lnTo>
                  <a:lnTo>
                    <a:pt x="1481" y="648"/>
                  </a:lnTo>
                  <a:lnTo>
                    <a:pt x="884" y="174"/>
                  </a:lnTo>
                  <a:lnTo>
                    <a:pt x="495" y="0"/>
                  </a:lnTo>
                  <a:lnTo>
                    <a:pt x="40" y="39"/>
                  </a:lnTo>
                  <a:lnTo>
                    <a:pt x="0" y="162"/>
                  </a:lnTo>
                  <a:lnTo>
                    <a:pt x="40" y="221"/>
                  </a:lnTo>
                  <a:lnTo>
                    <a:pt x="9" y="269"/>
                  </a:lnTo>
                  <a:lnTo>
                    <a:pt x="123" y="590"/>
                  </a:lnTo>
                  <a:lnTo>
                    <a:pt x="68" y="744"/>
                  </a:lnTo>
                  <a:lnTo>
                    <a:pt x="87" y="839"/>
                  </a:lnTo>
                  <a:lnTo>
                    <a:pt x="123" y="1104"/>
                  </a:lnTo>
                  <a:lnTo>
                    <a:pt x="230" y="1587"/>
                  </a:lnTo>
                  <a:lnTo>
                    <a:pt x="381" y="1796"/>
                  </a:lnTo>
                  <a:lnTo>
                    <a:pt x="296" y="2025"/>
                  </a:lnTo>
                  <a:lnTo>
                    <a:pt x="780" y="2073"/>
                  </a:lnTo>
                  <a:lnTo>
                    <a:pt x="990" y="2279"/>
                  </a:lnTo>
                  <a:lnTo>
                    <a:pt x="1140" y="2184"/>
                  </a:lnTo>
                  <a:lnTo>
                    <a:pt x="1227" y="2053"/>
                  </a:lnTo>
                  <a:lnTo>
                    <a:pt x="1140" y="1899"/>
                  </a:lnTo>
                  <a:lnTo>
                    <a:pt x="1227" y="1638"/>
                  </a:lnTo>
                  <a:lnTo>
                    <a:pt x="1275" y="1491"/>
                  </a:lnTo>
                  <a:lnTo>
                    <a:pt x="1350" y="1491"/>
                  </a:lnTo>
                  <a:lnTo>
                    <a:pt x="1560" y="1151"/>
                  </a:lnTo>
                  <a:lnTo>
                    <a:pt x="1766" y="933"/>
                  </a:lnTo>
                  <a:lnTo>
                    <a:pt x="1766" y="93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78" name="Freeform 29">
              <a:extLst>
                <a:ext uri="{FF2B5EF4-FFF2-40B4-BE49-F238E27FC236}">
                  <a16:creationId xmlns:a16="http://schemas.microsoft.com/office/drawing/2014/main" id="{722543D5-9646-4E6A-B3CE-31ED52D1B26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7148" y="4197427"/>
              <a:ext cx="658589" cy="375270"/>
            </a:xfrm>
            <a:custGeom>
              <a:avLst/>
              <a:gdLst/>
              <a:ahLst/>
              <a:cxnLst>
                <a:cxn ang="0">
                  <a:pos x="0" y="514"/>
                </a:cxn>
                <a:cxn ang="0">
                  <a:pos x="47" y="364"/>
                </a:cxn>
                <a:cxn ang="0">
                  <a:pos x="53" y="115"/>
                </a:cxn>
                <a:cxn ang="0">
                  <a:pos x="212" y="127"/>
                </a:cxn>
                <a:cxn ang="0">
                  <a:pos x="497" y="162"/>
                </a:cxn>
                <a:cxn ang="0">
                  <a:pos x="685" y="229"/>
                </a:cxn>
                <a:cxn ang="0">
                  <a:pos x="950" y="296"/>
                </a:cxn>
                <a:cxn ang="0">
                  <a:pos x="1018" y="257"/>
                </a:cxn>
                <a:cxn ang="0">
                  <a:pos x="1018" y="182"/>
                </a:cxn>
                <a:cxn ang="0">
                  <a:pos x="1054" y="127"/>
                </a:cxn>
                <a:cxn ang="0">
                  <a:pos x="1216" y="106"/>
                </a:cxn>
                <a:cxn ang="0">
                  <a:pos x="1310" y="11"/>
                </a:cxn>
                <a:cxn ang="0">
                  <a:pos x="1406" y="31"/>
                </a:cxn>
                <a:cxn ang="0">
                  <a:pos x="1528" y="0"/>
                </a:cxn>
                <a:cxn ang="0">
                  <a:pos x="1643" y="39"/>
                </a:cxn>
                <a:cxn ang="0">
                  <a:pos x="1730" y="94"/>
                </a:cxn>
                <a:cxn ang="0">
                  <a:pos x="1996" y="11"/>
                </a:cxn>
                <a:cxn ang="0">
                  <a:pos x="2129" y="35"/>
                </a:cxn>
                <a:cxn ang="0">
                  <a:pos x="2127" y="35"/>
                </a:cxn>
                <a:cxn ang="0">
                  <a:pos x="2110" y="94"/>
                </a:cxn>
                <a:cxn ang="0">
                  <a:pos x="2043" y="173"/>
                </a:cxn>
                <a:cxn ang="0">
                  <a:pos x="2078" y="284"/>
                </a:cxn>
                <a:cxn ang="0">
                  <a:pos x="2078" y="458"/>
                </a:cxn>
                <a:cxn ang="0">
                  <a:pos x="2078" y="649"/>
                </a:cxn>
                <a:cxn ang="0">
                  <a:pos x="2043" y="791"/>
                </a:cxn>
                <a:cxn ang="0">
                  <a:pos x="2023" y="1091"/>
                </a:cxn>
                <a:cxn ang="0">
                  <a:pos x="1968" y="1159"/>
                </a:cxn>
                <a:cxn ang="0">
                  <a:pos x="1968" y="1206"/>
                </a:cxn>
                <a:cxn ang="0">
                  <a:pos x="1624" y="1491"/>
                </a:cxn>
                <a:cxn ang="0">
                  <a:pos x="1556" y="1455"/>
                </a:cxn>
                <a:cxn ang="0">
                  <a:pos x="1472" y="1491"/>
                </a:cxn>
                <a:cxn ang="0">
                  <a:pos x="1433" y="1455"/>
                </a:cxn>
                <a:cxn ang="0">
                  <a:pos x="1520" y="1368"/>
                </a:cxn>
                <a:cxn ang="0">
                  <a:pos x="1528" y="1313"/>
                </a:cxn>
                <a:cxn ang="0">
                  <a:pos x="1624" y="1187"/>
                </a:cxn>
                <a:cxn ang="0">
                  <a:pos x="1615" y="1139"/>
                </a:cxn>
                <a:cxn ang="0">
                  <a:pos x="1366" y="1112"/>
                </a:cxn>
                <a:cxn ang="0">
                  <a:pos x="1216" y="969"/>
                </a:cxn>
                <a:cxn ang="0">
                  <a:pos x="1006" y="760"/>
                </a:cxn>
                <a:cxn ang="0">
                  <a:pos x="760" y="617"/>
                </a:cxn>
                <a:cxn ang="0">
                  <a:pos x="673" y="589"/>
                </a:cxn>
                <a:cxn ang="0">
                  <a:pos x="115" y="506"/>
                </a:cxn>
                <a:cxn ang="0">
                  <a:pos x="0" y="514"/>
                </a:cxn>
              </a:cxnLst>
              <a:rect l="0" t="0" r="r" b="b"/>
              <a:pathLst>
                <a:path w="2129" h="1491">
                  <a:moveTo>
                    <a:pt x="0" y="514"/>
                  </a:moveTo>
                  <a:lnTo>
                    <a:pt x="47" y="364"/>
                  </a:lnTo>
                  <a:lnTo>
                    <a:pt x="53" y="115"/>
                  </a:lnTo>
                  <a:lnTo>
                    <a:pt x="212" y="127"/>
                  </a:lnTo>
                  <a:lnTo>
                    <a:pt x="497" y="162"/>
                  </a:lnTo>
                  <a:lnTo>
                    <a:pt x="685" y="229"/>
                  </a:lnTo>
                  <a:lnTo>
                    <a:pt x="950" y="296"/>
                  </a:lnTo>
                  <a:lnTo>
                    <a:pt x="1018" y="257"/>
                  </a:lnTo>
                  <a:lnTo>
                    <a:pt x="1018" y="182"/>
                  </a:lnTo>
                  <a:lnTo>
                    <a:pt x="1054" y="127"/>
                  </a:lnTo>
                  <a:lnTo>
                    <a:pt x="1216" y="106"/>
                  </a:lnTo>
                  <a:lnTo>
                    <a:pt x="1310" y="11"/>
                  </a:lnTo>
                  <a:lnTo>
                    <a:pt x="1406" y="31"/>
                  </a:lnTo>
                  <a:lnTo>
                    <a:pt x="1528" y="0"/>
                  </a:lnTo>
                  <a:lnTo>
                    <a:pt x="1643" y="39"/>
                  </a:lnTo>
                  <a:lnTo>
                    <a:pt x="1730" y="94"/>
                  </a:lnTo>
                  <a:lnTo>
                    <a:pt x="1996" y="11"/>
                  </a:lnTo>
                  <a:lnTo>
                    <a:pt x="2129" y="35"/>
                  </a:lnTo>
                  <a:lnTo>
                    <a:pt x="2127" y="35"/>
                  </a:lnTo>
                  <a:lnTo>
                    <a:pt x="2110" y="94"/>
                  </a:lnTo>
                  <a:lnTo>
                    <a:pt x="2043" y="173"/>
                  </a:lnTo>
                  <a:lnTo>
                    <a:pt x="2078" y="284"/>
                  </a:lnTo>
                  <a:lnTo>
                    <a:pt x="2078" y="458"/>
                  </a:lnTo>
                  <a:lnTo>
                    <a:pt x="2078" y="649"/>
                  </a:lnTo>
                  <a:lnTo>
                    <a:pt x="2043" y="791"/>
                  </a:lnTo>
                  <a:lnTo>
                    <a:pt x="2023" y="1091"/>
                  </a:lnTo>
                  <a:lnTo>
                    <a:pt x="1968" y="1159"/>
                  </a:lnTo>
                  <a:lnTo>
                    <a:pt x="1968" y="1206"/>
                  </a:lnTo>
                  <a:lnTo>
                    <a:pt x="1624" y="1491"/>
                  </a:lnTo>
                  <a:lnTo>
                    <a:pt x="1556" y="1455"/>
                  </a:lnTo>
                  <a:lnTo>
                    <a:pt x="1472" y="1491"/>
                  </a:lnTo>
                  <a:lnTo>
                    <a:pt x="1433" y="1455"/>
                  </a:lnTo>
                  <a:lnTo>
                    <a:pt x="1520" y="1368"/>
                  </a:lnTo>
                  <a:lnTo>
                    <a:pt x="1528" y="1313"/>
                  </a:lnTo>
                  <a:lnTo>
                    <a:pt x="1624" y="1187"/>
                  </a:lnTo>
                  <a:lnTo>
                    <a:pt x="1615" y="1139"/>
                  </a:lnTo>
                  <a:lnTo>
                    <a:pt x="1366" y="1112"/>
                  </a:lnTo>
                  <a:lnTo>
                    <a:pt x="1216" y="969"/>
                  </a:lnTo>
                  <a:lnTo>
                    <a:pt x="1006" y="760"/>
                  </a:lnTo>
                  <a:lnTo>
                    <a:pt x="760" y="617"/>
                  </a:lnTo>
                  <a:lnTo>
                    <a:pt x="673" y="589"/>
                  </a:lnTo>
                  <a:lnTo>
                    <a:pt x="115" y="506"/>
                  </a:lnTo>
                  <a:lnTo>
                    <a:pt x="0" y="51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79" name="Freeform 30">
              <a:extLst>
                <a:ext uri="{FF2B5EF4-FFF2-40B4-BE49-F238E27FC236}">
                  <a16:creationId xmlns:a16="http://schemas.microsoft.com/office/drawing/2014/main" id="{5FD3DF36-176A-4D29-9E66-8F41432D14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8420" y="699542"/>
              <a:ext cx="823236" cy="729691"/>
            </a:xfrm>
            <a:custGeom>
              <a:avLst/>
              <a:gdLst/>
              <a:ahLst/>
              <a:cxnLst>
                <a:cxn ang="0">
                  <a:pos x="1873" y="27"/>
                </a:cxn>
                <a:cxn ang="0">
                  <a:pos x="2062" y="0"/>
                </a:cxn>
                <a:cxn ang="0">
                  <a:pos x="2137" y="94"/>
                </a:cxn>
                <a:cxn ang="0">
                  <a:pos x="2116" y="282"/>
                </a:cxn>
                <a:cxn ang="0">
                  <a:pos x="2196" y="338"/>
                </a:cxn>
                <a:cxn ang="0">
                  <a:pos x="2251" y="357"/>
                </a:cxn>
                <a:cxn ang="0">
                  <a:pos x="2306" y="527"/>
                </a:cxn>
                <a:cxn ang="0">
                  <a:pos x="2337" y="614"/>
                </a:cxn>
                <a:cxn ang="0">
                  <a:pos x="2196" y="763"/>
                </a:cxn>
                <a:cxn ang="0">
                  <a:pos x="2204" y="917"/>
                </a:cxn>
                <a:cxn ang="0">
                  <a:pos x="2157" y="1153"/>
                </a:cxn>
                <a:cxn ang="0">
                  <a:pos x="2164" y="1236"/>
                </a:cxn>
                <a:cxn ang="0">
                  <a:pos x="2259" y="1295"/>
                </a:cxn>
                <a:cxn ang="0">
                  <a:pos x="2271" y="1472"/>
                </a:cxn>
                <a:cxn ang="0">
                  <a:pos x="2543" y="1693"/>
                </a:cxn>
                <a:cxn ang="0">
                  <a:pos x="2638" y="1756"/>
                </a:cxn>
                <a:cxn ang="0">
                  <a:pos x="2680" y="2142"/>
                </a:cxn>
                <a:cxn ang="0">
                  <a:pos x="2279" y="2165"/>
                </a:cxn>
                <a:cxn ang="0">
                  <a:pos x="2148" y="2241"/>
                </a:cxn>
                <a:cxn ang="0">
                  <a:pos x="2128" y="2335"/>
                </a:cxn>
                <a:cxn ang="0">
                  <a:pos x="2023" y="2418"/>
                </a:cxn>
                <a:cxn ang="0">
                  <a:pos x="1995" y="2579"/>
                </a:cxn>
                <a:cxn ang="0">
                  <a:pos x="1865" y="2654"/>
                </a:cxn>
                <a:cxn ang="0">
                  <a:pos x="1723" y="2551"/>
                </a:cxn>
                <a:cxn ang="0">
                  <a:pos x="1637" y="2512"/>
                </a:cxn>
                <a:cxn ang="0">
                  <a:pos x="1487" y="2599"/>
                </a:cxn>
                <a:cxn ang="0">
                  <a:pos x="1428" y="2855"/>
                </a:cxn>
                <a:cxn ang="0">
                  <a:pos x="1360" y="2902"/>
                </a:cxn>
                <a:cxn ang="0">
                  <a:pos x="1013" y="2619"/>
                </a:cxn>
                <a:cxn ang="0">
                  <a:pos x="1030" y="2599"/>
                </a:cxn>
                <a:cxn ang="0">
                  <a:pos x="1069" y="2571"/>
                </a:cxn>
                <a:cxn ang="0">
                  <a:pos x="1088" y="2449"/>
                </a:cxn>
                <a:cxn ang="0">
                  <a:pos x="1021" y="1889"/>
                </a:cxn>
                <a:cxn ang="0">
                  <a:pos x="785" y="1445"/>
                </a:cxn>
                <a:cxn ang="0">
                  <a:pos x="635" y="1295"/>
                </a:cxn>
                <a:cxn ang="0">
                  <a:pos x="359" y="1267"/>
                </a:cxn>
                <a:cxn ang="0">
                  <a:pos x="320" y="1153"/>
                </a:cxn>
                <a:cxn ang="0">
                  <a:pos x="272" y="992"/>
                </a:cxn>
                <a:cxn ang="0">
                  <a:pos x="226" y="898"/>
                </a:cxn>
                <a:cxn ang="0">
                  <a:pos x="238" y="794"/>
                </a:cxn>
                <a:cxn ang="0">
                  <a:pos x="20" y="566"/>
                </a:cxn>
                <a:cxn ang="0">
                  <a:pos x="0" y="527"/>
                </a:cxn>
                <a:cxn ang="0">
                  <a:pos x="56" y="512"/>
                </a:cxn>
                <a:cxn ang="0">
                  <a:pos x="95" y="539"/>
                </a:cxn>
                <a:cxn ang="0">
                  <a:pos x="257" y="539"/>
                </a:cxn>
                <a:cxn ang="0">
                  <a:pos x="331" y="633"/>
                </a:cxn>
                <a:cxn ang="0">
                  <a:pos x="549" y="641"/>
                </a:cxn>
                <a:cxn ang="0">
                  <a:pos x="615" y="594"/>
                </a:cxn>
                <a:cxn ang="0">
                  <a:pos x="833" y="755"/>
                </a:cxn>
                <a:cxn ang="0">
                  <a:pos x="899" y="708"/>
                </a:cxn>
                <a:cxn ang="0">
                  <a:pos x="887" y="586"/>
                </a:cxn>
                <a:cxn ang="0">
                  <a:pos x="1030" y="519"/>
                </a:cxn>
                <a:cxn ang="0">
                  <a:pos x="1076" y="471"/>
                </a:cxn>
                <a:cxn ang="0">
                  <a:pos x="1219" y="512"/>
                </a:cxn>
                <a:cxn ang="0">
                  <a:pos x="1392" y="464"/>
                </a:cxn>
                <a:cxn ang="0">
                  <a:pos x="1467" y="398"/>
                </a:cxn>
                <a:cxn ang="0">
                  <a:pos x="1589" y="330"/>
                </a:cxn>
                <a:cxn ang="0">
                  <a:pos x="1644" y="338"/>
                </a:cxn>
                <a:cxn ang="0">
                  <a:pos x="1892" y="114"/>
                </a:cxn>
                <a:cxn ang="0">
                  <a:pos x="1873" y="27"/>
                </a:cxn>
                <a:cxn ang="0">
                  <a:pos x="1873" y="27"/>
                </a:cxn>
              </a:cxnLst>
              <a:rect l="0" t="0" r="r" b="b"/>
              <a:pathLst>
                <a:path w="2680" h="2902">
                  <a:moveTo>
                    <a:pt x="1873" y="27"/>
                  </a:moveTo>
                  <a:lnTo>
                    <a:pt x="2062" y="0"/>
                  </a:lnTo>
                  <a:lnTo>
                    <a:pt x="2137" y="94"/>
                  </a:lnTo>
                  <a:lnTo>
                    <a:pt x="2116" y="282"/>
                  </a:lnTo>
                  <a:lnTo>
                    <a:pt x="2196" y="338"/>
                  </a:lnTo>
                  <a:lnTo>
                    <a:pt x="2251" y="357"/>
                  </a:lnTo>
                  <a:lnTo>
                    <a:pt x="2306" y="527"/>
                  </a:lnTo>
                  <a:lnTo>
                    <a:pt x="2337" y="614"/>
                  </a:lnTo>
                  <a:lnTo>
                    <a:pt x="2196" y="763"/>
                  </a:lnTo>
                  <a:lnTo>
                    <a:pt x="2204" y="917"/>
                  </a:lnTo>
                  <a:lnTo>
                    <a:pt x="2157" y="1153"/>
                  </a:lnTo>
                  <a:lnTo>
                    <a:pt x="2164" y="1236"/>
                  </a:lnTo>
                  <a:lnTo>
                    <a:pt x="2259" y="1295"/>
                  </a:lnTo>
                  <a:lnTo>
                    <a:pt x="2271" y="1472"/>
                  </a:lnTo>
                  <a:lnTo>
                    <a:pt x="2543" y="1693"/>
                  </a:lnTo>
                  <a:lnTo>
                    <a:pt x="2638" y="1756"/>
                  </a:lnTo>
                  <a:lnTo>
                    <a:pt x="2680" y="2142"/>
                  </a:lnTo>
                  <a:lnTo>
                    <a:pt x="2279" y="2165"/>
                  </a:lnTo>
                  <a:lnTo>
                    <a:pt x="2148" y="2241"/>
                  </a:lnTo>
                  <a:lnTo>
                    <a:pt x="2128" y="2335"/>
                  </a:lnTo>
                  <a:lnTo>
                    <a:pt x="2023" y="2418"/>
                  </a:lnTo>
                  <a:lnTo>
                    <a:pt x="1995" y="2579"/>
                  </a:lnTo>
                  <a:lnTo>
                    <a:pt x="1865" y="2654"/>
                  </a:lnTo>
                  <a:lnTo>
                    <a:pt x="1723" y="2551"/>
                  </a:lnTo>
                  <a:lnTo>
                    <a:pt x="1637" y="2512"/>
                  </a:lnTo>
                  <a:lnTo>
                    <a:pt x="1487" y="2599"/>
                  </a:lnTo>
                  <a:lnTo>
                    <a:pt x="1428" y="2855"/>
                  </a:lnTo>
                  <a:lnTo>
                    <a:pt x="1360" y="2902"/>
                  </a:lnTo>
                  <a:lnTo>
                    <a:pt x="1013" y="2619"/>
                  </a:lnTo>
                  <a:lnTo>
                    <a:pt x="1030" y="2599"/>
                  </a:lnTo>
                  <a:lnTo>
                    <a:pt x="1069" y="2571"/>
                  </a:lnTo>
                  <a:lnTo>
                    <a:pt x="1088" y="2449"/>
                  </a:lnTo>
                  <a:lnTo>
                    <a:pt x="1021" y="1889"/>
                  </a:lnTo>
                  <a:lnTo>
                    <a:pt x="785" y="1445"/>
                  </a:lnTo>
                  <a:lnTo>
                    <a:pt x="635" y="1295"/>
                  </a:lnTo>
                  <a:lnTo>
                    <a:pt x="359" y="1267"/>
                  </a:lnTo>
                  <a:lnTo>
                    <a:pt x="320" y="1153"/>
                  </a:lnTo>
                  <a:lnTo>
                    <a:pt x="272" y="992"/>
                  </a:lnTo>
                  <a:lnTo>
                    <a:pt x="226" y="898"/>
                  </a:lnTo>
                  <a:lnTo>
                    <a:pt x="238" y="794"/>
                  </a:lnTo>
                  <a:lnTo>
                    <a:pt x="20" y="566"/>
                  </a:lnTo>
                  <a:lnTo>
                    <a:pt x="0" y="527"/>
                  </a:lnTo>
                  <a:lnTo>
                    <a:pt x="56" y="512"/>
                  </a:lnTo>
                  <a:lnTo>
                    <a:pt x="95" y="539"/>
                  </a:lnTo>
                  <a:lnTo>
                    <a:pt x="257" y="539"/>
                  </a:lnTo>
                  <a:lnTo>
                    <a:pt x="331" y="633"/>
                  </a:lnTo>
                  <a:lnTo>
                    <a:pt x="549" y="641"/>
                  </a:lnTo>
                  <a:lnTo>
                    <a:pt x="615" y="594"/>
                  </a:lnTo>
                  <a:lnTo>
                    <a:pt x="833" y="755"/>
                  </a:lnTo>
                  <a:lnTo>
                    <a:pt x="899" y="708"/>
                  </a:lnTo>
                  <a:lnTo>
                    <a:pt x="887" y="586"/>
                  </a:lnTo>
                  <a:lnTo>
                    <a:pt x="1030" y="519"/>
                  </a:lnTo>
                  <a:lnTo>
                    <a:pt x="1076" y="471"/>
                  </a:lnTo>
                  <a:lnTo>
                    <a:pt x="1219" y="512"/>
                  </a:lnTo>
                  <a:lnTo>
                    <a:pt x="1392" y="464"/>
                  </a:lnTo>
                  <a:lnTo>
                    <a:pt x="1467" y="398"/>
                  </a:lnTo>
                  <a:lnTo>
                    <a:pt x="1589" y="330"/>
                  </a:lnTo>
                  <a:lnTo>
                    <a:pt x="1644" y="338"/>
                  </a:lnTo>
                  <a:lnTo>
                    <a:pt x="1892" y="114"/>
                  </a:lnTo>
                  <a:lnTo>
                    <a:pt x="1873" y="27"/>
                  </a:lnTo>
                  <a:lnTo>
                    <a:pt x="1873" y="2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grpSp>
          <p:nvGrpSpPr>
            <p:cNvPr id="80" name="Group 31">
              <a:extLst>
                <a:ext uri="{FF2B5EF4-FFF2-40B4-BE49-F238E27FC236}">
                  <a16:creationId xmlns:a16="http://schemas.microsoft.com/office/drawing/2014/main" id="{AEFCA5E4-97E9-4120-9E3D-05BAC120D0B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03796" y="4660723"/>
              <a:ext cx="309422" cy="317359"/>
              <a:chOff x="991" y="2736"/>
              <a:chExt cx="109" cy="137"/>
            </a:xfrm>
            <a:solidFill>
              <a:srgbClr val="7F7F7F"/>
            </a:solidFill>
          </p:grpSpPr>
          <p:sp>
            <p:nvSpPr>
              <p:cNvPr id="87" name="Freeform 32">
                <a:extLst>
                  <a:ext uri="{FF2B5EF4-FFF2-40B4-BE49-F238E27FC236}">
                    <a16:creationId xmlns:a16="http://schemas.microsoft.com/office/drawing/2014/main" id="{039369D9-0D98-4F20-9449-313E72DD42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91" y="2834"/>
                <a:ext cx="23" cy="3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28" y="0"/>
                  </a:cxn>
                  <a:cxn ang="0">
                    <a:pos x="34" y="14"/>
                  </a:cxn>
                  <a:cxn ang="0">
                    <a:pos x="30" y="39"/>
                  </a:cxn>
                  <a:cxn ang="0">
                    <a:pos x="23" y="57"/>
                  </a:cxn>
                  <a:cxn ang="0">
                    <a:pos x="0" y="28"/>
                  </a:cxn>
                </a:cxnLst>
                <a:rect l="0" t="0" r="r" b="b"/>
                <a:pathLst>
                  <a:path w="34" h="57">
                    <a:moveTo>
                      <a:pt x="0" y="28"/>
                    </a:moveTo>
                    <a:lnTo>
                      <a:pt x="28" y="0"/>
                    </a:lnTo>
                    <a:lnTo>
                      <a:pt x="34" y="14"/>
                    </a:lnTo>
                    <a:lnTo>
                      <a:pt x="30" y="39"/>
                    </a:lnTo>
                    <a:lnTo>
                      <a:pt x="23" y="57"/>
                    </a:lnTo>
                    <a:lnTo>
                      <a:pt x="0" y="28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  <p:sp>
            <p:nvSpPr>
              <p:cNvPr id="88" name="Freeform 33">
                <a:extLst>
                  <a:ext uri="{FF2B5EF4-FFF2-40B4-BE49-F238E27FC236}">
                    <a16:creationId xmlns:a16="http://schemas.microsoft.com/office/drawing/2014/main" id="{5A5A0012-0AC4-4419-AA6C-13E960487EE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0" y="2736"/>
                <a:ext cx="70" cy="86"/>
              </a:xfrm>
              <a:custGeom>
                <a:avLst/>
                <a:gdLst/>
                <a:ahLst/>
                <a:cxnLst>
                  <a:cxn ang="0">
                    <a:pos x="16" y="114"/>
                  </a:cxn>
                  <a:cxn ang="0">
                    <a:pos x="3" y="126"/>
                  </a:cxn>
                  <a:cxn ang="0">
                    <a:pos x="0" y="123"/>
                  </a:cxn>
                  <a:cxn ang="0">
                    <a:pos x="0" y="121"/>
                  </a:cxn>
                  <a:cxn ang="0">
                    <a:pos x="3" y="107"/>
                  </a:cxn>
                  <a:cxn ang="0">
                    <a:pos x="14" y="94"/>
                  </a:cxn>
                  <a:cxn ang="0">
                    <a:pos x="21" y="78"/>
                  </a:cxn>
                  <a:cxn ang="0">
                    <a:pos x="37" y="66"/>
                  </a:cxn>
                  <a:cxn ang="0">
                    <a:pos x="62" y="18"/>
                  </a:cxn>
                  <a:cxn ang="0">
                    <a:pos x="60" y="0"/>
                  </a:cxn>
                  <a:cxn ang="0">
                    <a:pos x="76" y="0"/>
                  </a:cxn>
                  <a:cxn ang="0">
                    <a:pos x="103" y="7"/>
                  </a:cxn>
                  <a:cxn ang="0">
                    <a:pos x="94" y="23"/>
                  </a:cxn>
                  <a:cxn ang="0">
                    <a:pos x="92" y="43"/>
                  </a:cxn>
                  <a:cxn ang="0">
                    <a:pos x="78" y="50"/>
                  </a:cxn>
                  <a:cxn ang="0">
                    <a:pos x="78" y="62"/>
                  </a:cxn>
                  <a:cxn ang="0">
                    <a:pos x="64" y="66"/>
                  </a:cxn>
                  <a:cxn ang="0">
                    <a:pos x="62" y="85"/>
                  </a:cxn>
                  <a:cxn ang="0">
                    <a:pos x="16" y="114"/>
                  </a:cxn>
                </a:cxnLst>
                <a:rect l="0" t="0" r="r" b="b"/>
                <a:pathLst>
                  <a:path w="103" h="126">
                    <a:moveTo>
                      <a:pt x="16" y="114"/>
                    </a:moveTo>
                    <a:lnTo>
                      <a:pt x="3" y="126"/>
                    </a:lnTo>
                    <a:lnTo>
                      <a:pt x="0" y="123"/>
                    </a:lnTo>
                    <a:lnTo>
                      <a:pt x="0" y="121"/>
                    </a:lnTo>
                    <a:lnTo>
                      <a:pt x="3" y="107"/>
                    </a:lnTo>
                    <a:lnTo>
                      <a:pt x="14" y="94"/>
                    </a:lnTo>
                    <a:lnTo>
                      <a:pt x="21" y="78"/>
                    </a:lnTo>
                    <a:lnTo>
                      <a:pt x="37" y="66"/>
                    </a:lnTo>
                    <a:lnTo>
                      <a:pt x="62" y="18"/>
                    </a:lnTo>
                    <a:lnTo>
                      <a:pt x="60" y="0"/>
                    </a:lnTo>
                    <a:lnTo>
                      <a:pt x="76" y="0"/>
                    </a:lnTo>
                    <a:lnTo>
                      <a:pt x="103" y="7"/>
                    </a:lnTo>
                    <a:lnTo>
                      <a:pt x="94" y="23"/>
                    </a:lnTo>
                    <a:lnTo>
                      <a:pt x="92" y="43"/>
                    </a:lnTo>
                    <a:lnTo>
                      <a:pt x="78" y="50"/>
                    </a:lnTo>
                    <a:lnTo>
                      <a:pt x="78" y="62"/>
                    </a:lnTo>
                    <a:lnTo>
                      <a:pt x="64" y="66"/>
                    </a:lnTo>
                    <a:lnTo>
                      <a:pt x="62" y="85"/>
                    </a:lnTo>
                    <a:lnTo>
                      <a:pt x="16" y="114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</p:grpSp>
        <p:sp>
          <p:nvSpPr>
            <p:cNvPr id="81" name="Freeform 34">
              <a:extLst>
                <a:ext uri="{FF2B5EF4-FFF2-40B4-BE49-F238E27FC236}">
                  <a16:creationId xmlns:a16="http://schemas.microsoft.com/office/drawing/2014/main" id="{CD6C63C8-B04A-44B6-831D-6032EFC907EE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26" y="1213800"/>
              <a:ext cx="96517" cy="30114"/>
            </a:xfrm>
            <a:custGeom>
              <a:avLst/>
              <a:gdLst/>
              <a:ahLst/>
              <a:cxnLst>
                <a:cxn ang="0">
                  <a:pos x="36" y="7"/>
                </a:cxn>
                <a:cxn ang="0">
                  <a:pos x="25" y="14"/>
                </a:cxn>
                <a:cxn ang="0">
                  <a:pos x="2" y="14"/>
                </a:cxn>
                <a:cxn ang="0">
                  <a:pos x="0" y="7"/>
                </a:cxn>
                <a:cxn ang="0">
                  <a:pos x="25" y="0"/>
                </a:cxn>
                <a:cxn ang="0">
                  <a:pos x="34" y="3"/>
                </a:cxn>
                <a:cxn ang="0">
                  <a:pos x="36" y="7"/>
                </a:cxn>
              </a:cxnLst>
              <a:rect l="0" t="0" r="r" b="b"/>
              <a:pathLst>
                <a:path w="36" h="14">
                  <a:moveTo>
                    <a:pt x="36" y="7"/>
                  </a:moveTo>
                  <a:lnTo>
                    <a:pt x="25" y="14"/>
                  </a:lnTo>
                  <a:lnTo>
                    <a:pt x="2" y="14"/>
                  </a:lnTo>
                  <a:lnTo>
                    <a:pt x="0" y="7"/>
                  </a:lnTo>
                  <a:lnTo>
                    <a:pt x="25" y="0"/>
                  </a:lnTo>
                  <a:lnTo>
                    <a:pt x="34" y="3"/>
                  </a:lnTo>
                  <a:lnTo>
                    <a:pt x="36" y="7"/>
                  </a:lnTo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82" name="Freeform 35">
              <a:extLst>
                <a:ext uri="{FF2B5EF4-FFF2-40B4-BE49-F238E27FC236}">
                  <a16:creationId xmlns:a16="http://schemas.microsoft.com/office/drawing/2014/main" id="{B98F99F6-560B-4760-8281-D51E302BB9B8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33" y="1278661"/>
              <a:ext cx="127743" cy="127407"/>
            </a:xfrm>
            <a:custGeom>
              <a:avLst/>
              <a:gdLst/>
              <a:ahLst/>
              <a:cxnLst>
                <a:cxn ang="0">
                  <a:pos x="6" y="37"/>
                </a:cxn>
                <a:cxn ang="0">
                  <a:pos x="18" y="28"/>
                </a:cxn>
                <a:cxn ang="0">
                  <a:pos x="25" y="7"/>
                </a:cxn>
                <a:cxn ang="0">
                  <a:pos x="45" y="0"/>
                </a:cxn>
                <a:cxn ang="0">
                  <a:pos x="43" y="21"/>
                </a:cxn>
                <a:cxn ang="0">
                  <a:pos x="27" y="44"/>
                </a:cxn>
                <a:cxn ang="0">
                  <a:pos x="4" y="55"/>
                </a:cxn>
                <a:cxn ang="0">
                  <a:pos x="0" y="51"/>
                </a:cxn>
                <a:cxn ang="0">
                  <a:pos x="6" y="37"/>
                </a:cxn>
              </a:cxnLst>
              <a:rect l="0" t="0" r="r" b="b"/>
              <a:pathLst>
                <a:path w="45" h="55">
                  <a:moveTo>
                    <a:pt x="6" y="37"/>
                  </a:moveTo>
                  <a:lnTo>
                    <a:pt x="18" y="28"/>
                  </a:lnTo>
                  <a:lnTo>
                    <a:pt x="25" y="7"/>
                  </a:lnTo>
                  <a:lnTo>
                    <a:pt x="45" y="0"/>
                  </a:lnTo>
                  <a:lnTo>
                    <a:pt x="43" y="21"/>
                  </a:lnTo>
                  <a:lnTo>
                    <a:pt x="27" y="44"/>
                  </a:lnTo>
                  <a:lnTo>
                    <a:pt x="4" y="55"/>
                  </a:lnTo>
                  <a:lnTo>
                    <a:pt x="0" y="51"/>
                  </a:lnTo>
                  <a:lnTo>
                    <a:pt x="6" y="37"/>
                  </a:lnTo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83" name="Freeform 36">
              <a:extLst>
                <a:ext uri="{FF2B5EF4-FFF2-40B4-BE49-F238E27FC236}">
                  <a16:creationId xmlns:a16="http://schemas.microsoft.com/office/drawing/2014/main" id="{A3509824-9633-4F44-B2F0-156D5D331D66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9679" y="3634521"/>
              <a:ext cx="510975" cy="280293"/>
            </a:xfrm>
            <a:custGeom>
              <a:avLst/>
              <a:gdLst/>
              <a:ahLst/>
              <a:cxnLst>
                <a:cxn ang="0">
                  <a:pos x="55" y="689"/>
                </a:cxn>
                <a:cxn ang="0">
                  <a:pos x="130" y="775"/>
                </a:cxn>
                <a:cxn ang="0">
                  <a:pos x="284" y="775"/>
                </a:cxn>
                <a:cxn ang="0">
                  <a:pos x="300" y="796"/>
                </a:cxn>
                <a:cxn ang="0">
                  <a:pos x="205" y="891"/>
                </a:cxn>
                <a:cxn ang="0">
                  <a:pos x="28" y="937"/>
                </a:cxn>
                <a:cxn ang="0">
                  <a:pos x="0" y="1032"/>
                </a:cxn>
                <a:cxn ang="0">
                  <a:pos x="8" y="1115"/>
                </a:cxn>
                <a:cxn ang="0">
                  <a:pos x="75" y="1115"/>
                </a:cxn>
                <a:cxn ang="0">
                  <a:pos x="94" y="1087"/>
                </a:cxn>
                <a:cxn ang="0">
                  <a:pos x="48" y="1020"/>
                </a:cxn>
                <a:cxn ang="0">
                  <a:pos x="63" y="993"/>
                </a:cxn>
                <a:cxn ang="0">
                  <a:pos x="170" y="945"/>
                </a:cxn>
                <a:cxn ang="0">
                  <a:pos x="252" y="993"/>
                </a:cxn>
                <a:cxn ang="0">
                  <a:pos x="395" y="945"/>
                </a:cxn>
                <a:cxn ang="0">
                  <a:pos x="529" y="1000"/>
                </a:cxn>
                <a:cxn ang="0">
                  <a:pos x="616" y="973"/>
                </a:cxn>
                <a:cxn ang="0">
                  <a:pos x="623" y="906"/>
                </a:cxn>
                <a:cxn ang="0">
                  <a:pos x="670" y="891"/>
                </a:cxn>
                <a:cxn ang="0">
                  <a:pos x="737" y="984"/>
                </a:cxn>
                <a:cxn ang="0">
                  <a:pos x="820" y="993"/>
                </a:cxn>
                <a:cxn ang="0">
                  <a:pos x="1170" y="953"/>
                </a:cxn>
                <a:cxn ang="0">
                  <a:pos x="1211" y="804"/>
                </a:cxn>
                <a:cxn ang="0">
                  <a:pos x="1597" y="614"/>
                </a:cxn>
                <a:cxn ang="0">
                  <a:pos x="1597" y="433"/>
                </a:cxn>
                <a:cxn ang="0">
                  <a:pos x="1673" y="236"/>
                </a:cxn>
                <a:cxn ang="0">
                  <a:pos x="1671" y="236"/>
                </a:cxn>
                <a:cxn ang="0">
                  <a:pos x="1352" y="149"/>
                </a:cxn>
                <a:cxn ang="0">
                  <a:pos x="1325" y="27"/>
                </a:cxn>
                <a:cxn ang="0">
                  <a:pos x="1293" y="0"/>
                </a:cxn>
                <a:cxn ang="0">
                  <a:pos x="1190" y="87"/>
                </a:cxn>
                <a:cxn ang="0">
                  <a:pos x="1068" y="418"/>
                </a:cxn>
                <a:cxn ang="0">
                  <a:pos x="709" y="559"/>
                </a:cxn>
                <a:cxn ang="0">
                  <a:pos x="407" y="539"/>
                </a:cxn>
                <a:cxn ang="0">
                  <a:pos x="55" y="689"/>
                </a:cxn>
                <a:cxn ang="0">
                  <a:pos x="55" y="689"/>
                </a:cxn>
              </a:cxnLst>
              <a:rect l="0" t="0" r="r" b="b"/>
              <a:pathLst>
                <a:path w="1673" h="1115">
                  <a:moveTo>
                    <a:pt x="55" y="689"/>
                  </a:moveTo>
                  <a:lnTo>
                    <a:pt x="130" y="775"/>
                  </a:lnTo>
                  <a:lnTo>
                    <a:pt x="284" y="775"/>
                  </a:lnTo>
                  <a:lnTo>
                    <a:pt x="300" y="796"/>
                  </a:lnTo>
                  <a:lnTo>
                    <a:pt x="205" y="891"/>
                  </a:lnTo>
                  <a:lnTo>
                    <a:pt x="28" y="937"/>
                  </a:lnTo>
                  <a:lnTo>
                    <a:pt x="0" y="1032"/>
                  </a:lnTo>
                  <a:lnTo>
                    <a:pt x="8" y="1115"/>
                  </a:lnTo>
                  <a:lnTo>
                    <a:pt x="75" y="1115"/>
                  </a:lnTo>
                  <a:lnTo>
                    <a:pt x="94" y="1087"/>
                  </a:lnTo>
                  <a:lnTo>
                    <a:pt x="48" y="1020"/>
                  </a:lnTo>
                  <a:lnTo>
                    <a:pt x="63" y="993"/>
                  </a:lnTo>
                  <a:lnTo>
                    <a:pt x="170" y="945"/>
                  </a:lnTo>
                  <a:lnTo>
                    <a:pt x="252" y="993"/>
                  </a:lnTo>
                  <a:lnTo>
                    <a:pt x="395" y="945"/>
                  </a:lnTo>
                  <a:lnTo>
                    <a:pt x="529" y="1000"/>
                  </a:lnTo>
                  <a:lnTo>
                    <a:pt x="616" y="973"/>
                  </a:lnTo>
                  <a:lnTo>
                    <a:pt x="623" y="906"/>
                  </a:lnTo>
                  <a:lnTo>
                    <a:pt x="670" y="891"/>
                  </a:lnTo>
                  <a:lnTo>
                    <a:pt x="737" y="984"/>
                  </a:lnTo>
                  <a:lnTo>
                    <a:pt x="820" y="993"/>
                  </a:lnTo>
                  <a:lnTo>
                    <a:pt x="1170" y="953"/>
                  </a:lnTo>
                  <a:lnTo>
                    <a:pt x="1211" y="804"/>
                  </a:lnTo>
                  <a:lnTo>
                    <a:pt x="1597" y="614"/>
                  </a:lnTo>
                  <a:lnTo>
                    <a:pt x="1597" y="433"/>
                  </a:lnTo>
                  <a:lnTo>
                    <a:pt x="1673" y="236"/>
                  </a:lnTo>
                  <a:lnTo>
                    <a:pt x="1671" y="236"/>
                  </a:lnTo>
                  <a:lnTo>
                    <a:pt x="1352" y="149"/>
                  </a:lnTo>
                  <a:lnTo>
                    <a:pt x="1325" y="27"/>
                  </a:lnTo>
                  <a:lnTo>
                    <a:pt x="1293" y="0"/>
                  </a:lnTo>
                  <a:lnTo>
                    <a:pt x="1190" y="87"/>
                  </a:lnTo>
                  <a:lnTo>
                    <a:pt x="1068" y="418"/>
                  </a:lnTo>
                  <a:lnTo>
                    <a:pt x="709" y="559"/>
                  </a:lnTo>
                  <a:lnTo>
                    <a:pt x="407" y="539"/>
                  </a:lnTo>
                  <a:lnTo>
                    <a:pt x="55" y="689"/>
                  </a:lnTo>
                  <a:lnTo>
                    <a:pt x="55" y="689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grpSp>
          <p:nvGrpSpPr>
            <p:cNvPr id="84" name="Group 37">
              <a:extLst>
                <a:ext uri="{FF2B5EF4-FFF2-40B4-BE49-F238E27FC236}">
                  <a16:creationId xmlns:a16="http://schemas.microsoft.com/office/drawing/2014/main" id="{9EB99508-48B5-448B-ADDB-5865B5C5DAC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90163" y="4690202"/>
              <a:ext cx="307767" cy="319435"/>
              <a:chOff x="991" y="2736"/>
              <a:chExt cx="109" cy="137"/>
            </a:xfrm>
            <a:solidFill>
              <a:srgbClr val="7F7F7F"/>
            </a:solidFill>
          </p:grpSpPr>
          <p:sp>
            <p:nvSpPr>
              <p:cNvPr id="85" name="Freeform 38">
                <a:extLst>
                  <a:ext uri="{FF2B5EF4-FFF2-40B4-BE49-F238E27FC236}">
                    <a16:creationId xmlns:a16="http://schemas.microsoft.com/office/drawing/2014/main" id="{F6918CED-9717-4BE0-BAA7-A5FB3FE0DB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91" y="2834"/>
                <a:ext cx="23" cy="3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28" y="0"/>
                  </a:cxn>
                  <a:cxn ang="0">
                    <a:pos x="34" y="14"/>
                  </a:cxn>
                  <a:cxn ang="0">
                    <a:pos x="30" y="39"/>
                  </a:cxn>
                  <a:cxn ang="0">
                    <a:pos x="23" y="57"/>
                  </a:cxn>
                  <a:cxn ang="0">
                    <a:pos x="0" y="28"/>
                  </a:cxn>
                </a:cxnLst>
                <a:rect l="0" t="0" r="r" b="b"/>
                <a:pathLst>
                  <a:path w="34" h="57">
                    <a:moveTo>
                      <a:pt x="0" y="28"/>
                    </a:moveTo>
                    <a:lnTo>
                      <a:pt x="28" y="0"/>
                    </a:lnTo>
                    <a:lnTo>
                      <a:pt x="34" y="14"/>
                    </a:lnTo>
                    <a:lnTo>
                      <a:pt x="30" y="39"/>
                    </a:lnTo>
                    <a:lnTo>
                      <a:pt x="23" y="57"/>
                    </a:lnTo>
                    <a:lnTo>
                      <a:pt x="0" y="28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  <p:sp>
            <p:nvSpPr>
              <p:cNvPr id="86" name="Freeform 39">
                <a:extLst>
                  <a:ext uri="{FF2B5EF4-FFF2-40B4-BE49-F238E27FC236}">
                    <a16:creationId xmlns:a16="http://schemas.microsoft.com/office/drawing/2014/main" id="{DE552175-529B-4855-AA2A-D4A562C56D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0" y="2736"/>
                <a:ext cx="70" cy="86"/>
              </a:xfrm>
              <a:custGeom>
                <a:avLst/>
                <a:gdLst/>
                <a:ahLst/>
                <a:cxnLst>
                  <a:cxn ang="0">
                    <a:pos x="16" y="114"/>
                  </a:cxn>
                  <a:cxn ang="0">
                    <a:pos x="3" y="126"/>
                  </a:cxn>
                  <a:cxn ang="0">
                    <a:pos x="0" y="123"/>
                  </a:cxn>
                  <a:cxn ang="0">
                    <a:pos x="0" y="121"/>
                  </a:cxn>
                  <a:cxn ang="0">
                    <a:pos x="3" y="107"/>
                  </a:cxn>
                  <a:cxn ang="0">
                    <a:pos x="14" y="94"/>
                  </a:cxn>
                  <a:cxn ang="0">
                    <a:pos x="21" y="78"/>
                  </a:cxn>
                  <a:cxn ang="0">
                    <a:pos x="37" y="66"/>
                  </a:cxn>
                  <a:cxn ang="0">
                    <a:pos x="62" y="18"/>
                  </a:cxn>
                  <a:cxn ang="0">
                    <a:pos x="60" y="0"/>
                  </a:cxn>
                  <a:cxn ang="0">
                    <a:pos x="76" y="0"/>
                  </a:cxn>
                  <a:cxn ang="0">
                    <a:pos x="103" y="7"/>
                  </a:cxn>
                  <a:cxn ang="0">
                    <a:pos x="94" y="23"/>
                  </a:cxn>
                  <a:cxn ang="0">
                    <a:pos x="92" y="43"/>
                  </a:cxn>
                  <a:cxn ang="0">
                    <a:pos x="78" y="50"/>
                  </a:cxn>
                  <a:cxn ang="0">
                    <a:pos x="78" y="62"/>
                  </a:cxn>
                  <a:cxn ang="0">
                    <a:pos x="64" y="66"/>
                  </a:cxn>
                  <a:cxn ang="0">
                    <a:pos x="62" y="85"/>
                  </a:cxn>
                  <a:cxn ang="0">
                    <a:pos x="16" y="114"/>
                  </a:cxn>
                </a:cxnLst>
                <a:rect l="0" t="0" r="r" b="b"/>
                <a:pathLst>
                  <a:path w="103" h="126">
                    <a:moveTo>
                      <a:pt x="16" y="114"/>
                    </a:moveTo>
                    <a:lnTo>
                      <a:pt x="3" y="126"/>
                    </a:lnTo>
                    <a:lnTo>
                      <a:pt x="0" y="123"/>
                    </a:lnTo>
                    <a:lnTo>
                      <a:pt x="0" y="121"/>
                    </a:lnTo>
                    <a:lnTo>
                      <a:pt x="3" y="107"/>
                    </a:lnTo>
                    <a:lnTo>
                      <a:pt x="14" y="94"/>
                    </a:lnTo>
                    <a:lnTo>
                      <a:pt x="21" y="78"/>
                    </a:lnTo>
                    <a:lnTo>
                      <a:pt x="37" y="66"/>
                    </a:lnTo>
                    <a:lnTo>
                      <a:pt x="62" y="18"/>
                    </a:lnTo>
                    <a:lnTo>
                      <a:pt x="60" y="0"/>
                    </a:lnTo>
                    <a:lnTo>
                      <a:pt x="76" y="0"/>
                    </a:lnTo>
                    <a:lnTo>
                      <a:pt x="103" y="7"/>
                    </a:lnTo>
                    <a:lnTo>
                      <a:pt x="94" y="23"/>
                    </a:lnTo>
                    <a:lnTo>
                      <a:pt x="92" y="43"/>
                    </a:lnTo>
                    <a:lnTo>
                      <a:pt x="78" y="50"/>
                    </a:lnTo>
                    <a:lnTo>
                      <a:pt x="78" y="62"/>
                    </a:lnTo>
                    <a:lnTo>
                      <a:pt x="64" y="66"/>
                    </a:lnTo>
                    <a:lnTo>
                      <a:pt x="62" y="85"/>
                    </a:lnTo>
                    <a:lnTo>
                      <a:pt x="16" y="114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</p:grpSp>
      </p:grpSp>
      <p:sp>
        <p:nvSpPr>
          <p:cNvPr id="89" name="CaixaDeTexto 88">
            <a:extLst>
              <a:ext uri="{FF2B5EF4-FFF2-40B4-BE49-F238E27FC236}">
                <a16:creationId xmlns:a16="http://schemas.microsoft.com/office/drawing/2014/main" id="{753F486F-B66E-47EE-8513-5BE56C38D84A}"/>
              </a:ext>
            </a:extLst>
          </p:cNvPr>
          <p:cNvSpPr txBox="1"/>
          <p:nvPr/>
        </p:nvSpPr>
        <p:spPr>
          <a:xfrm>
            <a:off x="8017577" y="3808531"/>
            <a:ext cx="6788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36,2%</a:t>
            </a:r>
          </a:p>
        </p:txBody>
      </p:sp>
      <p:sp>
        <p:nvSpPr>
          <p:cNvPr id="90" name="CaixaDeTexto 89">
            <a:extLst>
              <a:ext uri="{FF2B5EF4-FFF2-40B4-BE49-F238E27FC236}">
                <a16:creationId xmlns:a16="http://schemas.microsoft.com/office/drawing/2014/main" id="{2605C783-5C60-4ABB-A81A-B5E0BCF62C2C}"/>
              </a:ext>
            </a:extLst>
          </p:cNvPr>
          <p:cNvSpPr txBox="1"/>
          <p:nvPr/>
        </p:nvSpPr>
        <p:spPr>
          <a:xfrm>
            <a:off x="7701454" y="4213664"/>
            <a:ext cx="6288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12,6%</a:t>
            </a:r>
          </a:p>
        </p:txBody>
      </p:sp>
      <p:sp>
        <p:nvSpPr>
          <p:cNvPr id="91" name="CaixaDeTexto 90">
            <a:extLst>
              <a:ext uri="{FF2B5EF4-FFF2-40B4-BE49-F238E27FC236}">
                <a16:creationId xmlns:a16="http://schemas.microsoft.com/office/drawing/2014/main" id="{942D93A6-F53E-4C30-BB9D-B54B7F5036B2}"/>
              </a:ext>
            </a:extLst>
          </p:cNvPr>
          <p:cNvSpPr txBox="1"/>
          <p:nvPr/>
        </p:nvSpPr>
        <p:spPr>
          <a:xfrm>
            <a:off x="7577135" y="3452255"/>
            <a:ext cx="6182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15,1%</a:t>
            </a:r>
          </a:p>
        </p:txBody>
      </p:sp>
      <p:sp>
        <p:nvSpPr>
          <p:cNvPr id="92" name="CaixaDeTexto 91">
            <a:extLst>
              <a:ext uri="{FF2B5EF4-FFF2-40B4-BE49-F238E27FC236}">
                <a16:creationId xmlns:a16="http://schemas.microsoft.com/office/drawing/2014/main" id="{35C42A14-63D5-4779-89B8-510C013A2BCB}"/>
              </a:ext>
            </a:extLst>
          </p:cNvPr>
          <p:cNvSpPr txBox="1"/>
          <p:nvPr/>
        </p:nvSpPr>
        <p:spPr>
          <a:xfrm>
            <a:off x="7176723" y="2733136"/>
            <a:ext cx="5159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5,4%</a:t>
            </a:r>
          </a:p>
        </p:txBody>
      </p:sp>
      <p:sp>
        <p:nvSpPr>
          <p:cNvPr id="93" name="CaixaDeTexto 92">
            <a:extLst>
              <a:ext uri="{FF2B5EF4-FFF2-40B4-BE49-F238E27FC236}">
                <a16:creationId xmlns:a16="http://schemas.microsoft.com/office/drawing/2014/main" id="{66DCB84B-F7A3-45CE-811A-159D476BB366}"/>
              </a:ext>
            </a:extLst>
          </p:cNvPr>
          <p:cNvSpPr txBox="1"/>
          <p:nvPr/>
        </p:nvSpPr>
        <p:spPr>
          <a:xfrm>
            <a:off x="8429257" y="2978234"/>
            <a:ext cx="5806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30,8%</a:t>
            </a:r>
          </a:p>
        </p:txBody>
      </p:sp>
      <p:sp>
        <p:nvSpPr>
          <p:cNvPr id="94" name="CaixaDeTexto 93">
            <a:extLst>
              <a:ext uri="{FF2B5EF4-FFF2-40B4-BE49-F238E27FC236}">
                <a16:creationId xmlns:a16="http://schemas.microsoft.com/office/drawing/2014/main" id="{ED264DD1-AF48-4E93-9C66-4E249B1877EA}"/>
              </a:ext>
            </a:extLst>
          </p:cNvPr>
          <p:cNvSpPr txBox="1"/>
          <p:nvPr/>
        </p:nvSpPr>
        <p:spPr>
          <a:xfrm>
            <a:off x="3216430" y="1714676"/>
            <a:ext cx="2631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Investimentos (%) em saneamento</a:t>
            </a:r>
          </a:p>
          <a:p>
            <a:endParaRPr lang="pt-BR" sz="1200" spc="5" dirty="0">
              <a:solidFill>
                <a:srgbClr val="253F93"/>
              </a:solidFill>
              <a:latin typeface="Myriad Pro"/>
              <a:ea typeface="+mj-ea"/>
              <a:cs typeface="+mj-cs"/>
            </a:endParaRPr>
          </a:p>
          <a:p>
            <a:pPr lvl="1"/>
            <a:endParaRPr lang="pt-BR" sz="1200" b="1" spc="5" dirty="0">
              <a:solidFill>
                <a:srgbClr val="00A8AB"/>
              </a:solidFill>
              <a:latin typeface="Myriad Pro"/>
            </a:endParaRPr>
          </a:p>
        </p:txBody>
      </p:sp>
      <p:grpSp>
        <p:nvGrpSpPr>
          <p:cNvPr id="95" name="Agrupar 94">
            <a:extLst>
              <a:ext uri="{FF2B5EF4-FFF2-40B4-BE49-F238E27FC236}">
                <a16:creationId xmlns:a16="http://schemas.microsoft.com/office/drawing/2014/main" id="{E7D9DD05-6D19-428C-B2A7-44069F9C4661}"/>
              </a:ext>
            </a:extLst>
          </p:cNvPr>
          <p:cNvGrpSpPr/>
          <p:nvPr/>
        </p:nvGrpSpPr>
        <p:grpSpPr>
          <a:xfrm>
            <a:off x="395536" y="2168277"/>
            <a:ext cx="2448272" cy="2520280"/>
            <a:chOff x="990600" y="699542"/>
            <a:chExt cx="5334000" cy="4343400"/>
          </a:xfrm>
        </p:grpSpPr>
        <p:sp>
          <p:nvSpPr>
            <p:cNvPr id="96" name="Freeform 5">
              <a:extLst>
                <a:ext uri="{FF2B5EF4-FFF2-40B4-BE49-F238E27FC236}">
                  <a16:creationId xmlns:a16="http://schemas.microsoft.com/office/drawing/2014/main" id="{37DA906E-B150-4E67-B95E-C310D83D74FC}"/>
                </a:ext>
              </a:extLst>
            </p:cNvPr>
            <p:cNvSpPr>
              <a:spLocks/>
            </p:cNvSpPr>
            <p:nvPr/>
          </p:nvSpPr>
          <p:spPr bwMode="gray">
            <a:xfrm>
              <a:off x="3846377" y="3495533"/>
              <a:ext cx="1124142" cy="616184"/>
            </a:xfrm>
            <a:custGeom>
              <a:avLst/>
              <a:gdLst/>
              <a:ahLst/>
              <a:cxnLst>
                <a:cxn ang="0">
                  <a:pos x="1932" y="2411"/>
                </a:cxn>
                <a:cxn ang="0">
                  <a:pos x="1864" y="2325"/>
                </a:cxn>
                <a:cxn ang="0">
                  <a:pos x="1762" y="2202"/>
                </a:cxn>
                <a:cxn ang="0">
                  <a:pos x="1478" y="2116"/>
                </a:cxn>
                <a:cxn ang="0">
                  <a:pos x="1391" y="1852"/>
                </a:cxn>
                <a:cxn ang="0">
                  <a:pos x="1194" y="1407"/>
                </a:cxn>
                <a:cxn ang="0">
                  <a:pos x="694" y="1265"/>
                </a:cxn>
                <a:cxn ang="0">
                  <a:pos x="303" y="1257"/>
                </a:cxn>
                <a:cxn ang="0">
                  <a:pos x="0" y="1192"/>
                </a:cxn>
                <a:cxn ang="0">
                  <a:pos x="351" y="832"/>
                </a:cxn>
                <a:cxn ang="0">
                  <a:pos x="446" y="662"/>
                </a:cxn>
                <a:cxn ang="0">
                  <a:pos x="654" y="264"/>
                </a:cxn>
                <a:cxn ang="0">
                  <a:pos x="826" y="100"/>
                </a:cxn>
                <a:cxn ang="0">
                  <a:pos x="1221" y="67"/>
                </a:cxn>
                <a:cxn ang="0">
                  <a:pos x="1534" y="123"/>
                </a:cxn>
                <a:cxn ang="0">
                  <a:pos x="1695" y="225"/>
                </a:cxn>
                <a:cxn ang="0">
                  <a:pos x="2046" y="189"/>
                </a:cxn>
                <a:cxn ang="0">
                  <a:pos x="2350" y="162"/>
                </a:cxn>
                <a:cxn ang="0">
                  <a:pos x="2377" y="303"/>
                </a:cxn>
                <a:cxn ang="0">
                  <a:pos x="2396" y="500"/>
                </a:cxn>
                <a:cxn ang="0">
                  <a:pos x="2538" y="764"/>
                </a:cxn>
                <a:cxn ang="0">
                  <a:pos x="2668" y="851"/>
                </a:cxn>
                <a:cxn ang="0">
                  <a:pos x="2632" y="1182"/>
                </a:cxn>
                <a:cxn ang="0">
                  <a:pos x="2727" y="1359"/>
                </a:cxn>
                <a:cxn ang="0">
                  <a:pos x="2964" y="1398"/>
                </a:cxn>
                <a:cxn ang="0">
                  <a:pos x="3256" y="1284"/>
                </a:cxn>
                <a:cxn ang="0">
                  <a:pos x="3472" y="1323"/>
                </a:cxn>
                <a:cxn ang="0">
                  <a:pos x="3642" y="1344"/>
                </a:cxn>
                <a:cxn ang="0">
                  <a:pos x="3370" y="1485"/>
                </a:cxn>
                <a:cxn ang="0">
                  <a:pos x="3350" y="1663"/>
                </a:cxn>
                <a:cxn ang="0">
                  <a:pos x="3038" y="1871"/>
                </a:cxn>
                <a:cxn ang="0">
                  <a:pos x="2538" y="2005"/>
                </a:cxn>
                <a:cxn ang="0">
                  <a:pos x="1971" y="2446"/>
                </a:cxn>
              </a:cxnLst>
              <a:rect l="0" t="0" r="r" b="b"/>
              <a:pathLst>
                <a:path w="3642" h="2446">
                  <a:moveTo>
                    <a:pt x="1971" y="2446"/>
                  </a:moveTo>
                  <a:lnTo>
                    <a:pt x="1932" y="2411"/>
                  </a:lnTo>
                  <a:lnTo>
                    <a:pt x="1932" y="2391"/>
                  </a:lnTo>
                  <a:lnTo>
                    <a:pt x="1864" y="2325"/>
                  </a:lnTo>
                  <a:lnTo>
                    <a:pt x="1782" y="2371"/>
                  </a:lnTo>
                  <a:lnTo>
                    <a:pt x="1762" y="2202"/>
                  </a:lnTo>
                  <a:lnTo>
                    <a:pt x="1514" y="2182"/>
                  </a:lnTo>
                  <a:lnTo>
                    <a:pt x="1478" y="2116"/>
                  </a:lnTo>
                  <a:lnTo>
                    <a:pt x="1514" y="2053"/>
                  </a:lnTo>
                  <a:lnTo>
                    <a:pt x="1391" y="1852"/>
                  </a:lnTo>
                  <a:lnTo>
                    <a:pt x="1364" y="1595"/>
                  </a:lnTo>
                  <a:lnTo>
                    <a:pt x="1194" y="1407"/>
                  </a:lnTo>
                  <a:lnTo>
                    <a:pt x="978" y="1407"/>
                  </a:lnTo>
                  <a:lnTo>
                    <a:pt x="694" y="1265"/>
                  </a:lnTo>
                  <a:lnTo>
                    <a:pt x="458" y="1257"/>
                  </a:lnTo>
                  <a:lnTo>
                    <a:pt x="303" y="1257"/>
                  </a:lnTo>
                  <a:lnTo>
                    <a:pt x="87" y="1249"/>
                  </a:lnTo>
                  <a:lnTo>
                    <a:pt x="0" y="1192"/>
                  </a:lnTo>
                  <a:lnTo>
                    <a:pt x="174" y="1068"/>
                  </a:lnTo>
                  <a:lnTo>
                    <a:pt x="351" y="832"/>
                  </a:lnTo>
                  <a:lnTo>
                    <a:pt x="351" y="764"/>
                  </a:lnTo>
                  <a:lnTo>
                    <a:pt x="446" y="662"/>
                  </a:lnTo>
                  <a:lnTo>
                    <a:pt x="512" y="481"/>
                  </a:lnTo>
                  <a:lnTo>
                    <a:pt x="654" y="264"/>
                  </a:lnTo>
                  <a:lnTo>
                    <a:pt x="824" y="142"/>
                  </a:lnTo>
                  <a:lnTo>
                    <a:pt x="826" y="100"/>
                  </a:lnTo>
                  <a:lnTo>
                    <a:pt x="1012" y="0"/>
                  </a:lnTo>
                  <a:lnTo>
                    <a:pt x="1221" y="67"/>
                  </a:lnTo>
                  <a:lnTo>
                    <a:pt x="1498" y="55"/>
                  </a:lnTo>
                  <a:lnTo>
                    <a:pt x="1534" y="123"/>
                  </a:lnTo>
                  <a:lnTo>
                    <a:pt x="1534" y="189"/>
                  </a:lnTo>
                  <a:lnTo>
                    <a:pt x="1695" y="225"/>
                  </a:lnTo>
                  <a:lnTo>
                    <a:pt x="1789" y="170"/>
                  </a:lnTo>
                  <a:lnTo>
                    <a:pt x="2046" y="189"/>
                  </a:lnTo>
                  <a:lnTo>
                    <a:pt x="2175" y="102"/>
                  </a:lnTo>
                  <a:lnTo>
                    <a:pt x="2350" y="162"/>
                  </a:lnTo>
                  <a:lnTo>
                    <a:pt x="2404" y="237"/>
                  </a:lnTo>
                  <a:lnTo>
                    <a:pt x="2377" y="303"/>
                  </a:lnTo>
                  <a:lnTo>
                    <a:pt x="2443" y="426"/>
                  </a:lnTo>
                  <a:lnTo>
                    <a:pt x="2396" y="500"/>
                  </a:lnTo>
                  <a:lnTo>
                    <a:pt x="2471" y="718"/>
                  </a:lnTo>
                  <a:lnTo>
                    <a:pt x="2538" y="764"/>
                  </a:lnTo>
                  <a:lnTo>
                    <a:pt x="2649" y="776"/>
                  </a:lnTo>
                  <a:lnTo>
                    <a:pt x="2668" y="851"/>
                  </a:lnTo>
                  <a:lnTo>
                    <a:pt x="2593" y="1107"/>
                  </a:lnTo>
                  <a:lnTo>
                    <a:pt x="2632" y="1182"/>
                  </a:lnTo>
                  <a:lnTo>
                    <a:pt x="2743" y="1296"/>
                  </a:lnTo>
                  <a:lnTo>
                    <a:pt x="2727" y="1359"/>
                  </a:lnTo>
                  <a:lnTo>
                    <a:pt x="2783" y="1418"/>
                  </a:lnTo>
                  <a:lnTo>
                    <a:pt x="2964" y="1398"/>
                  </a:lnTo>
                  <a:lnTo>
                    <a:pt x="3019" y="1312"/>
                  </a:lnTo>
                  <a:lnTo>
                    <a:pt x="3256" y="1284"/>
                  </a:lnTo>
                  <a:lnTo>
                    <a:pt x="3397" y="1237"/>
                  </a:lnTo>
                  <a:lnTo>
                    <a:pt x="3472" y="1323"/>
                  </a:lnTo>
                  <a:lnTo>
                    <a:pt x="3626" y="1323"/>
                  </a:lnTo>
                  <a:lnTo>
                    <a:pt x="3642" y="1344"/>
                  </a:lnTo>
                  <a:lnTo>
                    <a:pt x="3547" y="1439"/>
                  </a:lnTo>
                  <a:lnTo>
                    <a:pt x="3370" y="1485"/>
                  </a:lnTo>
                  <a:lnTo>
                    <a:pt x="3342" y="1580"/>
                  </a:lnTo>
                  <a:lnTo>
                    <a:pt x="3350" y="1663"/>
                  </a:lnTo>
                  <a:lnTo>
                    <a:pt x="3074" y="1816"/>
                  </a:lnTo>
                  <a:lnTo>
                    <a:pt x="3038" y="1871"/>
                  </a:lnTo>
                  <a:lnTo>
                    <a:pt x="2877" y="1852"/>
                  </a:lnTo>
                  <a:lnTo>
                    <a:pt x="2538" y="2005"/>
                  </a:lnTo>
                  <a:lnTo>
                    <a:pt x="2046" y="2383"/>
                  </a:lnTo>
                  <a:lnTo>
                    <a:pt x="1971" y="2446"/>
                  </a:lnTo>
                  <a:lnTo>
                    <a:pt x="1971" y="2446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97" name="Freeform 6">
              <a:extLst>
                <a:ext uri="{FF2B5EF4-FFF2-40B4-BE49-F238E27FC236}">
                  <a16:creationId xmlns:a16="http://schemas.microsoft.com/office/drawing/2014/main" id="{E6F2C0DA-CAE2-42FD-801E-15926FB5CF61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1477" y="1253180"/>
              <a:ext cx="346326" cy="189950"/>
            </a:xfrm>
            <a:custGeom>
              <a:avLst/>
              <a:gdLst/>
              <a:ahLst/>
              <a:cxnLst>
                <a:cxn ang="0">
                  <a:pos x="39" y="108"/>
                </a:cxn>
                <a:cxn ang="0">
                  <a:pos x="16" y="115"/>
                </a:cxn>
                <a:cxn ang="0">
                  <a:pos x="5" y="103"/>
                </a:cxn>
                <a:cxn ang="0">
                  <a:pos x="7" y="96"/>
                </a:cxn>
                <a:cxn ang="0">
                  <a:pos x="0" y="80"/>
                </a:cxn>
                <a:cxn ang="0">
                  <a:pos x="12" y="69"/>
                </a:cxn>
                <a:cxn ang="0">
                  <a:pos x="3" y="64"/>
                </a:cxn>
                <a:cxn ang="0">
                  <a:pos x="5" y="35"/>
                </a:cxn>
                <a:cxn ang="0">
                  <a:pos x="14" y="28"/>
                </a:cxn>
                <a:cxn ang="0">
                  <a:pos x="14" y="12"/>
                </a:cxn>
                <a:cxn ang="0">
                  <a:pos x="30" y="0"/>
                </a:cxn>
                <a:cxn ang="0">
                  <a:pos x="90" y="12"/>
                </a:cxn>
                <a:cxn ang="0">
                  <a:pos x="117" y="7"/>
                </a:cxn>
                <a:cxn ang="0">
                  <a:pos x="170" y="16"/>
                </a:cxn>
                <a:cxn ang="0">
                  <a:pos x="149" y="67"/>
                </a:cxn>
                <a:cxn ang="0">
                  <a:pos x="133" y="80"/>
                </a:cxn>
                <a:cxn ang="0">
                  <a:pos x="135" y="87"/>
                </a:cxn>
                <a:cxn ang="0">
                  <a:pos x="128" y="94"/>
                </a:cxn>
                <a:cxn ang="0">
                  <a:pos x="108" y="96"/>
                </a:cxn>
                <a:cxn ang="0">
                  <a:pos x="99" y="101"/>
                </a:cxn>
                <a:cxn ang="0">
                  <a:pos x="92" y="99"/>
                </a:cxn>
                <a:cxn ang="0">
                  <a:pos x="71" y="112"/>
                </a:cxn>
                <a:cxn ang="0">
                  <a:pos x="48" y="115"/>
                </a:cxn>
                <a:cxn ang="0">
                  <a:pos x="39" y="108"/>
                </a:cxn>
              </a:cxnLst>
              <a:rect l="0" t="0" r="r" b="b"/>
              <a:pathLst>
                <a:path w="170" h="115">
                  <a:moveTo>
                    <a:pt x="39" y="108"/>
                  </a:moveTo>
                  <a:lnTo>
                    <a:pt x="16" y="115"/>
                  </a:lnTo>
                  <a:lnTo>
                    <a:pt x="5" y="103"/>
                  </a:lnTo>
                  <a:lnTo>
                    <a:pt x="7" y="96"/>
                  </a:lnTo>
                  <a:lnTo>
                    <a:pt x="0" y="80"/>
                  </a:lnTo>
                  <a:lnTo>
                    <a:pt x="12" y="69"/>
                  </a:lnTo>
                  <a:lnTo>
                    <a:pt x="3" y="64"/>
                  </a:lnTo>
                  <a:lnTo>
                    <a:pt x="5" y="35"/>
                  </a:lnTo>
                  <a:lnTo>
                    <a:pt x="14" y="28"/>
                  </a:lnTo>
                  <a:lnTo>
                    <a:pt x="14" y="12"/>
                  </a:lnTo>
                  <a:lnTo>
                    <a:pt x="30" y="0"/>
                  </a:lnTo>
                  <a:lnTo>
                    <a:pt x="90" y="12"/>
                  </a:lnTo>
                  <a:lnTo>
                    <a:pt x="117" y="7"/>
                  </a:lnTo>
                  <a:lnTo>
                    <a:pt x="170" y="16"/>
                  </a:lnTo>
                  <a:lnTo>
                    <a:pt x="149" y="67"/>
                  </a:lnTo>
                  <a:lnTo>
                    <a:pt x="133" y="80"/>
                  </a:lnTo>
                  <a:lnTo>
                    <a:pt x="135" y="87"/>
                  </a:lnTo>
                  <a:lnTo>
                    <a:pt x="128" y="94"/>
                  </a:lnTo>
                  <a:lnTo>
                    <a:pt x="108" y="96"/>
                  </a:lnTo>
                  <a:lnTo>
                    <a:pt x="99" y="101"/>
                  </a:lnTo>
                  <a:lnTo>
                    <a:pt x="92" y="99"/>
                  </a:lnTo>
                  <a:lnTo>
                    <a:pt x="71" y="112"/>
                  </a:lnTo>
                  <a:lnTo>
                    <a:pt x="48" y="115"/>
                  </a:lnTo>
                  <a:lnTo>
                    <a:pt x="39" y="108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98" name="Freeform 7">
              <a:extLst>
                <a:ext uri="{FF2B5EF4-FFF2-40B4-BE49-F238E27FC236}">
                  <a16:creationId xmlns:a16="http://schemas.microsoft.com/office/drawing/2014/main" id="{04D85713-DCCD-45F0-9341-E2D2A30BAFED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4264" y="3321797"/>
              <a:ext cx="309422" cy="372953"/>
            </a:xfrm>
            <a:custGeom>
              <a:avLst/>
              <a:gdLst/>
              <a:ahLst/>
              <a:cxnLst>
                <a:cxn ang="0">
                  <a:pos x="757" y="0"/>
                </a:cxn>
                <a:cxn ang="0">
                  <a:pos x="615" y="0"/>
                </a:cxn>
                <a:cxn ang="0">
                  <a:pos x="445" y="75"/>
                </a:cxn>
                <a:cxn ang="0">
                  <a:pos x="399" y="169"/>
                </a:cxn>
                <a:cxn ang="0">
                  <a:pos x="426" y="303"/>
                </a:cxn>
                <a:cxn ang="0">
                  <a:pos x="438" y="370"/>
                </a:cxn>
                <a:cxn ang="0">
                  <a:pos x="399" y="446"/>
                </a:cxn>
                <a:cxn ang="0">
                  <a:pos x="426" y="615"/>
                </a:cxn>
                <a:cxn ang="0">
                  <a:pos x="399" y="710"/>
                </a:cxn>
                <a:cxn ang="0">
                  <a:pos x="248" y="938"/>
                </a:cxn>
                <a:cxn ang="0">
                  <a:pos x="209" y="1004"/>
                </a:cxn>
                <a:cxn ang="0">
                  <a:pos x="95" y="992"/>
                </a:cxn>
                <a:cxn ang="0">
                  <a:pos x="20" y="1067"/>
                </a:cxn>
                <a:cxn ang="0">
                  <a:pos x="0" y="1249"/>
                </a:cxn>
                <a:cxn ang="0">
                  <a:pos x="32" y="1276"/>
                </a:cxn>
                <a:cxn ang="0">
                  <a:pos x="59" y="1398"/>
                </a:cxn>
                <a:cxn ang="0">
                  <a:pos x="378" y="1485"/>
                </a:cxn>
                <a:cxn ang="0">
                  <a:pos x="380" y="1485"/>
                </a:cxn>
                <a:cxn ang="0">
                  <a:pos x="399" y="1438"/>
                </a:cxn>
                <a:cxn ang="0">
                  <a:pos x="615" y="1221"/>
                </a:cxn>
                <a:cxn ang="0">
                  <a:pos x="647" y="1107"/>
                </a:cxn>
                <a:cxn ang="0">
                  <a:pos x="890" y="796"/>
                </a:cxn>
                <a:cxn ang="0">
                  <a:pos x="938" y="521"/>
                </a:cxn>
                <a:cxn ang="0">
                  <a:pos x="994" y="181"/>
                </a:cxn>
                <a:cxn ang="0">
                  <a:pos x="757" y="0"/>
                </a:cxn>
                <a:cxn ang="0">
                  <a:pos x="757" y="0"/>
                </a:cxn>
              </a:cxnLst>
              <a:rect l="0" t="0" r="r" b="b"/>
              <a:pathLst>
                <a:path w="994" h="1485">
                  <a:moveTo>
                    <a:pt x="757" y="0"/>
                  </a:moveTo>
                  <a:lnTo>
                    <a:pt x="615" y="0"/>
                  </a:lnTo>
                  <a:lnTo>
                    <a:pt x="445" y="75"/>
                  </a:lnTo>
                  <a:lnTo>
                    <a:pt x="399" y="169"/>
                  </a:lnTo>
                  <a:lnTo>
                    <a:pt x="426" y="303"/>
                  </a:lnTo>
                  <a:lnTo>
                    <a:pt x="438" y="370"/>
                  </a:lnTo>
                  <a:lnTo>
                    <a:pt x="399" y="446"/>
                  </a:lnTo>
                  <a:lnTo>
                    <a:pt x="426" y="615"/>
                  </a:lnTo>
                  <a:lnTo>
                    <a:pt x="399" y="710"/>
                  </a:lnTo>
                  <a:lnTo>
                    <a:pt x="248" y="938"/>
                  </a:lnTo>
                  <a:lnTo>
                    <a:pt x="209" y="1004"/>
                  </a:lnTo>
                  <a:lnTo>
                    <a:pt x="95" y="992"/>
                  </a:lnTo>
                  <a:lnTo>
                    <a:pt x="20" y="1067"/>
                  </a:lnTo>
                  <a:lnTo>
                    <a:pt x="0" y="1249"/>
                  </a:lnTo>
                  <a:lnTo>
                    <a:pt x="32" y="1276"/>
                  </a:lnTo>
                  <a:lnTo>
                    <a:pt x="59" y="1398"/>
                  </a:lnTo>
                  <a:lnTo>
                    <a:pt x="378" y="1485"/>
                  </a:lnTo>
                  <a:lnTo>
                    <a:pt x="380" y="1485"/>
                  </a:lnTo>
                  <a:lnTo>
                    <a:pt x="399" y="1438"/>
                  </a:lnTo>
                  <a:lnTo>
                    <a:pt x="615" y="1221"/>
                  </a:lnTo>
                  <a:lnTo>
                    <a:pt x="647" y="1107"/>
                  </a:lnTo>
                  <a:lnTo>
                    <a:pt x="890" y="796"/>
                  </a:lnTo>
                  <a:lnTo>
                    <a:pt x="938" y="521"/>
                  </a:lnTo>
                  <a:lnTo>
                    <a:pt x="994" y="181"/>
                  </a:lnTo>
                  <a:lnTo>
                    <a:pt x="757" y="0"/>
                  </a:lnTo>
                  <a:lnTo>
                    <a:pt x="757" y="0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99" name="Freeform 8">
              <a:extLst>
                <a:ext uri="{FF2B5EF4-FFF2-40B4-BE49-F238E27FC236}">
                  <a16:creationId xmlns:a16="http://schemas.microsoft.com/office/drawing/2014/main" id="{A387E629-8BFB-4542-B7DB-DD8B9990C62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1467" y="4313251"/>
              <a:ext cx="950979" cy="729691"/>
            </a:xfrm>
            <a:custGeom>
              <a:avLst/>
              <a:gdLst/>
              <a:ahLst/>
              <a:cxnLst>
                <a:cxn ang="0">
                  <a:pos x="3085" y="980"/>
                </a:cxn>
                <a:cxn ang="0">
                  <a:pos x="3017" y="944"/>
                </a:cxn>
                <a:cxn ang="0">
                  <a:pos x="2934" y="980"/>
                </a:cxn>
                <a:cxn ang="0">
                  <a:pos x="2895" y="944"/>
                </a:cxn>
                <a:cxn ang="0">
                  <a:pos x="2982" y="859"/>
                </a:cxn>
                <a:cxn ang="0">
                  <a:pos x="2990" y="803"/>
                </a:cxn>
                <a:cxn ang="0">
                  <a:pos x="3085" y="677"/>
                </a:cxn>
                <a:cxn ang="0">
                  <a:pos x="3077" y="629"/>
                </a:cxn>
                <a:cxn ang="0">
                  <a:pos x="2828" y="602"/>
                </a:cxn>
                <a:cxn ang="0">
                  <a:pos x="2679" y="461"/>
                </a:cxn>
                <a:cxn ang="0">
                  <a:pos x="2470" y="252"/>
                </a:cxn>
                <a:cxn ang="0">
                  <a:pos x="2225" y="109"/>
                </a:cxn>
                <a:cxn ang="0">
                  <a:pos x="2138" y="82"/>
                </a:cxn>
                <a:cxn ang="0">
                  <a:pos x="1583" y="0"/>
                </a:cxn>
                <a:cxn ang="0">
                  <a:pos x="1469" y="7"/>
                </a:cxn>
                <a:cxn ang="0">
                  <a:pos x="1239" y="157"/>
                </a:cxn>
                <a:cxn ang="0">
                  <a:pos x="1110" y="224"/>
                </a:cxn>
                <a:cxn ang="0">
                  <a:pos x="767" y="500"/>
                </a:cxn>
                <a:cxn ang="0">
                  <a:pos x="731" y="594"/>
                </a:cxn>
                <a:cxn ang="0">
                  <a:pos x="653" y="602"/>
                </a:cxn>
                <a:cxn ang="0">
                  <a:pos x="369" y="932"/>
                </a:cxn>
                <a:cxn ang="0">
                  <a:pos x="353" y="992"/>
                </a:cxn>
                <a:cxn ang="0">
                  <a:pos x="117" y="1284"/>
                </a:cxn>
                <a:cxn ang="0">
                  <a:pos x="0" y="1435"/>
                </a:cxn>
                <a:cxn ang="0">
                  <a:pos x="144" y="1464"/>
                </a:cxn>
                <a:cxn ang="0">
                  <a:pos x="226" y="1359"/>
                </a:cxn>
                <a:cxn ang="0">
                  <a:pos x="389" y="1445"/>
                </a:cxn>
                <a:cxn ang="0">
                  <a:pos x="464" y="1500"/>
                </a:cxn>
                <a:cxn ang="0">
                  <a:pos x="617" y="1689"/>
                </a:cxn>
                <a:cxn ang="0">
                  <a:pos x="617" y="1776"/>
                </a:cxn>
                <a:cxn ang="0">
                  <a:pos x="665" y="1803"/>
                </a:cxn>
                <a:cxn ang="0">
                  <a:pos x="767" y="1709"/>
                </a:cxn>
                <a:cxn ang="0">
                  <a:pos x="787" y="1689"/>
                </a:cxn>
                <a:cxn ang="0">
                  <a:pos x="996" y="1906"/>
                </a:cxn>
                <a:cxn ang="0">
                  <a:pos x="1165" y="1973"/>
                </a:cxn>
                <a:cxn ang="0">
                  <a:pos x="1280" y="2126"/>
                </a:cxn>
                <a:cxn ang="0">
                  <a:pos x="1448" y="2201"/>
                </a:cxn>
                <a:cxn ang="0">
                  <a:pos x="1610" y="2437"/>
                </a:cxn>
                <a:cxn ang="0">
                  <a:pos x="1685" y="2493"/>
                </a:cxn>
                <a:cxn ang="0">
                  <a:pos x="1657" y="2551"/>
                </a:cxn>
                <a:cxn ang="0">
                  <a:pos x="1591" y="2626"/>
                </a:cxn>
                <a:cxn ang="0">
                  <a:pos x="1571" y="2748"/>
                </a:cxn>
                <a:cxn ang="0">
                  <a:pos x="1618" y="2910"/>
                </a:cxn>
                <a:cxn ang="0">
                  <a:pos x="1678" y="2898"/>
                </a:cxn>
                <a:cxn ang="0">
                  <a:pos x="1914" y="2646"/>
                </a:cxn>
                <a:cxn ang="0">
                  <a:pos x="2016" y="2398"/>
                </a:cxn>
                <a:cxn ang="0">
                  <a:pos x="2178" y="2189"/>
                </a:cxn>
                <a:cxn ang="0">
                  <a:pos x="2434" y="1993"/>
                </a:cxn>
                <a:cxn ang="0">
                  <a:pos x="2745" y="1634"/>
                </a:cxn>
                <a:cxn ang="0">
                  <a:pos x="2922" y="1264"/>
                </a:cxn>
                <a:cxn ang="0">
                  <a:pos x="3085" y="980"/>
                </a:cxn>
                <a:cxn ang="0">
                  <a:pos x="3085" y="980"/>
                </a:cxn>
              </a:cxnLst>
              <a:rect l="0" t="0" r="r" b="b"/>
              <a:pathLst>
                <a:path w="3085" h="2910">
                  <a:moveTo>
                    <a:pt x="3085" y="980"/>
                  </a:moveTo>
                  <a:lnTo>
                    <a:pt x="3017" y="944"/>
                  </a:lnTo>
                  <a:lnTo>
                    <a:pt x="2934" y="980"/>
                  </a:lnTo>
                  <a:lnTo>
                    <a:pt x="2895" y="944"/>
                  </a:lnTo>
                  <a:lnTo>
                    <a:pt x="2982" y="859"/>
                  </a:lnTo>
                  <a:lnTo>
                    <a:pt x="2990" y="803"/>
                  </a:lnTo>
                  <a:lnTo>
                    <a:pt x="3085" y="677"/>
                  </a:lnTo>
                  <a:lnTo>
                    <a:pt x="3077" y="629"/>
                  </a:lnTo>
                  <a:lnTo>
                    <a:pt x="2828" y="602"/>
                  </a:lnTo>
                  <a:lnTo>
                    <a:pt x="2679" y="461"/>
                  </a:lnTo>
                  <a:lnTo>
                    <a:pt x="2470" y="252"/>
                  </a:lnTo>
                  <a:lnTo>
                    <a:pt x="2225" y="109"/>
                  </a:lnTo>
                  <a:lnTo>
                    <a:pt x="2138" y="82"/>
                  </a:lnTo>
                  <a:lnTo>
                    <a:pt x="1583" y="0"/>
                  </a:lnTo>
                  <a:lnTo>
                    <a:pt x="1469" y="7"/>
                  </a:lnTo>
                  <a:lnTo>
                    <a:pt x="1239" y="157"/>
                  </a:lnTo>
                  <a:lnTo>
                    <a:pt x="1110" y="224"/>
                  </a:lnTo>
                  <a:lnTo>
                    <a:pt x="767" y="500"/>
                  </a:lnTo>
                  <a:lnTo>
                    <a:pt x="731" y="594"/>
                  </a:lnTo>
                  <a:lnTo>
                    <a:pt x="653" y="602"/>
                  </a:lnTo>
                  <a:lnTo>
                    <a:pt x="369" y="932"/>
                  </a:lnTo>
                  <a:lnTo>
                    <a:pt x="353" y="992"/>
                  </a:lnTo>
                  <a:lnTo>
                    <a:pt x="117" y="1284"/>
                  </a:lnTo>
                  <a:lnTo>
                    <a:pt x="0" y="1435"/>
                  </a:lnTo>
                  <a:lnTo>
                    <a:pt x="144" y="1464"/>
                  </a:lnTo>
                  <a:lnTo>
                    <a:pt x="226" y="1359"/>
                  </a:lnTo>
                  <a:lnTo>
                    <a:pt x="389" y="1445"/>
                  </a:lnTo>
                  <a:lnTo>
                    <a:pt x="464" y="1500"/>
                  </a:lnTo>
                  <a:lnTo>
                    <a:pt x="617" y="1689"/>
                  </a:lnTo>
                  <a:lnTo>
                    <a:pt x="617" y="1776"/>
                  </a:lnTo>
                  <a:lnTo>
                    <a:pt x="665" y="1803"/>
                  </a:lnTo>
                  <a:lnTo>
                    <a:pt x="767" y="1709"/>
                  </a:lnTo>
                  <a:lnTo>
                    <a:pt x="787" y="1689"/>
                  </a:lnTo>
                  <a:lnTo>
                    <a:pt x="996" y="1906"/>
                  </a:lnTo>
                  <a:lnTo>
                    <a:pt x="1165" y="1973"/>
                  </a:lnTo>
                  <a:lnTo>
                    <a:pt x="1280" y="2126"/>
                  </a:lnTo>
                  <a:lnTo>
                    <a:pt x="1448" y="2201"/>
                  </a:lnTo>
                  <a:lnTo>
                    <a:pt x="1610" y="2437"/>
                  </a:lnTo>
                  <a:lnTo>
                    <a:pt x="1685" y="2493"/>
                  </a:lnTo>
                  <a:lnTo>
                    <a:pt x="1657" y="2551"/>
                  </a:lnTo>
                  <a:lnTo>
                    <a:pt x="1591" y="2626"/>
                  </a:lnTo>
                  <a:lnTo>
                    <a:pt x="1571" y="2748"/>
                  </a:lnTo>
                  <a:lnTo>
                    <a:pt x="1618" y="2910"/>
                  </a:lnTo>
                  <a:lnTo>
                    <a:pt x="1678" y="2898"/>
                  </a:lnTo>
                  <a:lnTo>
                    <a:pt x="1914" y="2646"/>
                  </a:lnTo>
                  <a:lnTo>
                    <a:pt x="2016" y="2398"/>
                  </a:lnTo>
                  <a:lnTo>
                    <a:pt x="2178" y="2189"/>
                  </a:lnTo>
                  <a:lnTo>
                    <a:pt x="2434" y="1993"/>
                  </a:lnTo>
                  <a:lnTo>
                    <a:pt x="2745" y="1634"/>
                  </a:lnTo>
                  <a:lnTo>
                    <a:pt x="2922" y="1264"/>
                  </a:lnTo>
                  <a:lnTo>
                    <a:pt x="3085" y="980"/>
                  </a:lnTo>
                  <a:lnTo>
                    <a:pt x="3085" y="980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00" name="Freeform 9">
              <a:extLst>
                <a:ext uri="{FF2B5EF4-FFF2-40B4-BE49-F238E27FC236}">
                  <a16:creationId xmlns:a16="http://schemas.microsoft.com/office/drawing/2014/main" id="{05229B94-E043-4624-A836-8F36A5B76D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44826" y="3796674"/>
              <a:ext cx="809043" cy="472563"/>
            </a:xfrm>
            <a:custGeom>
              <a:avLst/>
              <a:gdLst/>
              <a:ahLst/>
              <a:cxnLst>
                <a:cxn ang="0">
                  <a:pos x="2422" y="1621"/>
                </a:cxn>
                <a:cxn ang="0">
                  <a:pos x="2290" y="1597"/>
                </a:cxn>
                <a:cxn ang="0">
                  <a:pos x="2026" y="1680"/>
                </a:cxn>
                <a:cxn ang="0">
                  <a:pos x="1939" y="1624"/>
                </a:cxn>
                <a:cxn ang="0">
                  <a:pos x="1825" y="1585"/>
                </a:cxn>
                <a:cxn ang="0">
                  <a:pos x="1703" y="1617"/>
                </a:cxn>
                <a:cxn ang="0">
                  <a:pos x="1608" y="1597"/>
                </a:cxn>
                <a:cxn ang="0">
                  <a:pos x="1514" y="1692"/>
                </a:cxn>
                <a:cxn ang="0">
                  <a:pos x="1352" y="1711"/>
                </a:cxn>
                <a:cxn ang="0">
                  <a:pos x="1317" y="1767"/>
                </a:cxn>
                <a:cxn ang="0">
                  <a:pos x="1317" y="1842"/>
                </a:cxn>
                <a:cxn ang="0">
                  <a:pos x="1249" y="1881"/>
                </a:cxn>
                <a:cxn ang="0">
                  <a:pos x="985" y="1813"/>
                </a:cxn>
                <a:cxn ang="0">
                  <a:pos x="797" y="1747"/>
                </a:cxn>
                <a:cxn ang="0">
                  <a:pos x="514" y="1711"/>
                </a:cxn>
                <a:cxn ang="0">
                  <a:pos x="356" y="1699"/>
                </a:cxn>
                <a:cxn ang="0">
                  <a:pos x="276" y="1483"/>
                </a:cxn>
                <a:cxn ang="0">
                  <a:pos x="190" y="1436"/>
                </a:cxn>
                <a:cxn ang="0">
                  <a:pos x="47" y="1444"/>
                </a:cxn>
                <a:cxn ang="0">
                  <a:pos x="0" y="1415"/>
                </a:cxn>
                <a:cxn ang="0">
                  <a:pos x="55" y="1124"/>
                </a:cxn>
                <a:cxn ang="0">
                  <a:pos x="115" y="924"/>
                </a:cxn>
                <a:cxn ang="0">
                  <a:pos x="103" y="861"/>
                </a:cxn>
                <a:cxn ang="0">
                  <a:pos x="103" y="718"/>
                </a:cxn>
                <a:cxn ang="0">
                  <a:pos x="190" y="660"/>
                </a:cxn>
                <a:cxn ang="0">
                  <a:pos x="244" y="435"/>
                </a:cxn>
                <a:cxn ang="0">
                  <a:pos x="358" y="320"/>
                </a:cxn>
                <a:cxn ang="0">
                  <a:pos x="378" y="206"/>
                </a:cxn>
                <a:cxn ang="0">
                  <a:pos x="670" y="0"/>
                </a:cxn>
                <a:cxn ang="0">
                  <a:pos x="757" y="57"/>
                </a:cxn>
                <a:cxn ang="0">
                  <a:pos x="973" y="65"/>
                </a:cxn>
                <a:cxn ang="0">
                  <a:pos x="1128" y="65"/>
                </a:cxn>
                <a:cxn ang="0">
                  <a:pos x="1364" y="73"/>
                </a:cxn>
                <a:cxn ang="0">
                  <a:pos x="1648" y="215"/>
                </a:cxn>
                <a:cxn ang="0">
                  <a:pos x="1864" y="215"/>
                </a:cxn>
                <a:cxn ang="0">
                  <a:pos x="2034" y="403"/>
                </a:cxn>
                <a:cxn ang="0">
                  <a:pos x="2061" y="660"/>
                </a:cxn>
                <a:cxn ang="0">
                  <a:pos x="2184" y="861"/>
                </a:cxn>
                <a:cxn ang="0">
                  <a:pos x="2148" y="924"/>
                </a:cxn>
                <a:cxn ang="0">
                  <a:pos x="2184" y="990"/>
                </a:cxn>
                <a:cxn ang="0">
                  <a:pos x="2432" y="1010"/>
                </a:cxn>
                <a:cxn ang="0">
                  <a:pos x="2452" y="1179"/>
                </a:cxn>
                <a:cxn ang="0">
                  <a:pos x="2534" y="1133"/>
                </a:cxn>
                <a:cxn ang="0">
                  <a:pos x="2602" y="1199"/>
                </a:cxn>
                <a:cxn ang="0">
                  <a:pos x="2602" y="1219"/>
                </a:cxn>
                <a:cxn ang="0">
                  <a:pos x="2641" y="1254"/>
                </a:cxn>
                <a:cxn ang="0">
                  <a:pos x="2581" y="1333"/>
                </a:cxn>
                <a:cxn ang="0">
                  <a:pos x="2467" y="1341"/>
                </a:cxn>
                <a:cxn ang="0">
                  <a:pos x="2393" y="1369"/>
                </a:cxn>
                <a:cxn ang="0">
                  <a:pos x="2372" y="1388"/>
                </a:cxn>
                <a:cxn ang="0">
                  <a:pos x="2467" y="1463"/>
                </a:cxn>
                <a:cxn ang="0">
                  <a:pos x="2421" y="1621"/>
                </a:cxn>
                <a:cxn ang="0">
                  <a:pos x="2422" y="1621"/>
                </a:cxn>
                <a:cxn ang="0">
                  <a:pos x="2422" y="1621"/>
                </a:cxn>
              </a:cxnLst>
              <a:rect l="0" t="0" r="r" b="b"/>
              <a:pathLst>
                <a:path w="2641" h="1881">
                  <a:moveTo>
                    <a:pt x="2422" y="1621"/>
                  </a:moveTo>
                  <a:lnTo>
                    <a:pt x="2290" y="1597"/>
                  </a:lnTo>
                  <a:lnTo>
                    <a:pt x="2026" y="1680"/>
                  </a:lnTo>
                  <a:lnTo>
                    <a:pt x="1939" y="1624"/>
                  </a:lnTo>
                  <a:lnTo>
                    <a:pt x="1825" y="1585"/>
                  </a:lnTo>
                  <a:lnTo>
                    <a:pt x="1703" y="1617"/>
                  </a:lnTo>
                  <a:lnTo>
                    <a:pt x="1608" y="1597"/>
                  </a:lnTo>
                  <a:lnTo>
                    <a:pt x="1514" y="1692"/>
                  </a:lnTo>
                  <a:lnTo>
                    <a:pt x="1352" y="1711"/>
                  </a:lnTo>
                  <a:lnTo>
                    <a:pt x="1317" y="1767"/>
                  </a:lnTo>
                  <a:lnTo>
                    <a:pt x="1317" y="1842"/>
                  </a:lnTo>
                  <a:lnTo>
                    <a:pt x="1249" y="1881"/>
                  </a:lnTo>
                  <a:lnTo>
                    <a:pt x="985" y="1813"/>
                  </a:lnTo>
                  <a:lnTo>
                    <a:pt x="797" y="1747"/>
                  </a:lnTo>
                  <a:lnTo>
                    <a:pt x="514" y="1711"/>
                  </a:lnTo>
                  <a:lnTo>
                    <a:pt x="356" y="1699"/>
                  </a:lnTo>
                  <a:lnTo>
                    <a:pt x="276" y="1483"/>
                  </a:lnTo>
                  <a:lnTo>
                    <a:pt x="190" y="1436"/>
                  </a:lnTo>
                  <a:lnTo>
                    <a:pt x="47" y="1444"/>
                  </a:lnTo>
                  <a:lnTo>
                    <a:pt x="0" y="1415"/>
                  </a:lnTo>
                  <a:lnTo>
                    <a:pt x="55" y="1124"/>
                  </a:lnTo>
                  <a:lnTo>
                    <a:pt x="115" y="924"/>
                  </a:lnTo>
                  <a:lnTo>
                    <a:pt x="103" y="861"/>
                  </a:lnTo>
                  <a:lnTo>
                    <a:pt x="103" y="718"/>
                  </a:lnTo>
                  <a:lnTo>
                    <a:pt x="190" y="660"/>
                  </a:lnTo>
                  <a:lnTo>
                    <a:pt x="244" y="435"/>
                  </a:lnTo>
                  <a:lnTo>
                    <a:pt x="358" y="320"/>
                  </a:lnTo>
                  <a:lnTo>
                    <a:pt x="378" y="206"/>
                  </a:lnTo>
                  <a:lnTo>
                    <a:pt x="670" y="0"/>
                  </a:lnTo>
                  <a:lnTo>
                    <a:pt x="757" y="57"/>
                  </a:lnTo>
                  <a:lnTo>
                    <a:pt x="973" y="65"/>
                  </a:lnTo>
                  <a:lnTo>
                    <a:pt x="1128" y="65"/>
                  </a:lnTo>
                  <a:lnTo>
                    <a:pt x="1364" y="73"/>
                  </a:lnTo>
                  <a:lnTo>
                    <a:pt x="1648" y="215"/>
                  </a:lnTo>
                  <a:lnTo>
                    <a:pt x="1864" y="215"/>
                  </a:lnTo>
                  <a:lnTo>
                    <a:pt x="2034" y="403"/>
                  </a:lnTo>
                  <a:lnTo>
                    <a:pt x="2061" y="660"/>
                  </a:lnTo>
                  <a:lnTo>
                    <a:pt x="2184" y="861"/>
                  </a:lnTo>
                  <a:lnTo>
                    <a:pt x="2148" y="924"/>
                  </a:lnTo>
                  <a:lnTo>
                    <a:pt x="2184" y="990"/>
                  </a:lnTo>
                  <a:lnTo>
                    <a:pt x="2432" y="1010"/>
                  </a:lnTo>
                  <a:lnTo>
                    <a:pt x="2452" y="1179"/>
                  </a:lnTo>
                  <a:lnTo>
                    <a:pt x="2534" y="1133"/>
                  </a:lnTo>
                  <a:lnTo>
                    <a:pt x="2602" y="1199"/>
                  </a:lnTo>
                  <a:lnTo>
                    <a:pt x="2602" y="1219"/>
                  </a:lnTo>
                  <a:lnTo>
                    <a:pt x="2641" y="1254"/>
                  </a:lnTo>
                  <a:lnTo>
                    <a:pt x="2581" y="1333"/>
                  </a:lnTo>
                  <a:lnTo>
                    <a:pt x="2467" y="1341"/>
                  </a:lnTo>
                  <a:lnTo>
                    <a:pt x="2393" y="1369"/>
                  </a:lnTo>
                  <a:lnTo>
                    <a:pt x="2372" y="1388"/>
                  </a:lnTo>
                  <a:lnTo>
                    <a:pt x="2467" y="1463"/>
                  </a:lnTo>
                  <a:lnTo>
                    <a:pt x="2421" y="1621"/>
                  </a:lnTo>
                  <a:lnTo>
                    <a:pt x="2422" y="1621"/>
                  </a:lnTo>
                  <a:lnTo>
                    <a:pt x="2422" y="1621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01" name="Freeform 10">
              <a:extLst>
                <a:ext uri="{FF2B5EF4-FFF2-40B4-BE49-F238E27FC236}">
                  <a16:creationId xmlns:a16="http://schemas.microsoft.com/office/drawing/2014/main" id="{DA25ADA2-27C6-4688-BDEF-0105CB4D30E6}"/>
                </a:ext>
              </a:extLst>
            </p:cNvPr>
            <p:cNvSpPr>
              <a:spLocks/>
            </p:cNvSpPr>
            <p:nvPr/>
          </p:nvSpPr>
          <p:spPr bwMode="gray">
            <a:xfrm>
              <a:off x="4104703" y="2888614"/>
              <a:ext cx="1478986" cy="963655"/>
            </a:xfrm>
            <a:custGeom>
              <a:avLst/>
              <a:gdLst/>
              <a:ahLst/>
              <a:cxnLst>
                <a:cxn ang="0">
                  <a:pos x="18" y="2242"/>
                </a:cxn>
                <a:cxn ang="0">
                  <a:pos x="293" y="1922"/>
                </a:cxn>
                <a:cxn ang="0">
                  <a:pos x="708" y="1890"/>
                </a:cxn>
                <a:cxn ang="0">
                  <a:pos x="1153" y="1808"/>
                </a:cxn>
                <a:cxn ang="0">
                  <a:pos x="1578" y="1654"/>
                </a:cxn>
                <a:cxn ang="0">
                  <a:pos x="1512" y="1402"/>
                </a:cxn>
                <a:cxn ang="0">
                  <a:pos x="1645" y="1147"/>
                </a:cxn>
                <a:cxn ang="0">
                  <a:pos x="1551" y="965"/>
                </a:cxn>
                <a:cxn ang="0">
                  <a:pos x="1787" y="674"/>
                </a:cxn>
                <a:cxn ang="0">
                  <a:pos x="1775" y="457"/>
                </a:cxn>
                <a:cxn ang="0">
                  <a:pos x="1929" y="283"/>
                </a:cxn>
                <a:cxn ang="0">
                  <a:pos x="2003" y="181"/>
                </a:cxn>
                <a:cxn ang="0">
                  <a:pos x="2165" y="268"/>
                </a:cxn>
                <a:cxn ang="0">
                  <a:pos x="2374" y="315"/>
                </a:cxn>
                <a:cxn ang="0">
                  <a:pos x="3091" y="11"/>
                </a:cxn>
                <a:cxn ang="0">
                  <a:pos x="3100" y="134"/>
                </a:cxn>
                <a:cxn ang="0">
                  <a:pos x="3320" y="220"/>
                </a:cxn>
                <a:cxn ang="0">
                  <a:pos x="3537" y="229"/>
                </a:cxn>
                <a:cxn ang="0">
                  <a:pos x="4018" y="445"/>
                </a:cxn>
                <a:cxn ang="0">
                  <a:pos x="4199" y="681"/>
                </a:cxn>
                <a:cxn ang="0">
                  <a:pos x="4502" y="740"/>
                </a:cxn>
                <a:cxn ang="0">
                  <a:pos x="4803" y="929"/>
                </a:cxn>
                <a:cxn ang="0">
                  <a:pos x="4653" y="1118"/>
                </a:cxn>
                <a:cxn ang="0">
                  <a:pos x="4490" y="1296"/>
                </a:cxn>
                <a:cxn ang="0">
                  <a:pos x="4456" y="1485"/>
                </a:cxn>
                <a:cxn ang="0">
                  <a:pos x="4566" y="1721"/>
                </a:cxn>
                <a:cxn ang="0">
                  <a:pos x="4254" y="1796"/>
                </a:cxn>
                <a:cxn ang="0">
                  <a:pos x="4235" y="2024"/>
                </a:cxn>
                <a:cxn ang="0">
                  <a:pos x="4208" y="2167"/>
                </a:cxn>
                <a:cxn ang="0">
                  <a:pos x="4208" y="2431"/>
                </a:cxn>
                <a:cxn ang="0">
                  <a:pos x="4018" y="2725"/>
                </a:cxn>
                <a:cxn ang="0">
                  <a:pos x="3829" y="2788"/>
                </a:cxn>
                <a:cxn ang="0">
                  <a:pos x="3706" y="3057"/>
                </a:cxn>
                <a:cxn ang="0">
                  <a:pos x="3225" y="3529"/>
                </a:cxn>
                <a:cxn ang="0">
                  <a:pos x="2571" y="3659"/>
                </a:cxn>
                <a:cxn ang="0">
                  <a:pos x="2193" y="3734"/>
                </a:cxn>
                <a:cxn ang="0">
                  <a:pos x="1957" y="3840"/>
                </a:cxn>
                <a:cxn ang="0">
                  <a:pos x="1917" y="3718"/>
                </a:cxn>
                <a:cxn ang="0">
                  <a:pos x="1767" y="3529"/>
                </a:cxn>
                <a:cxn ang="0">
                  <a:pos x="1823" y="3198"/>
                </a:cxn>
                <a:cxn ang="0">
                  <a:pos x="1645" y="3140"/>
                </a:cxn>
                <a:cxn ang="0">
                  <a:pos x="1617" y="2848"/>
                </a:cxn>
                <a:cxn ang="0">
                  <a:pos x="1578" y="2659"/>
                </a:cxn>
                <a:cxn ang="0">
                  <a:pos x="1349" y="2524"/>
                </a:cxn>
                <a:cxn ang="0">
                  <a:pos x="963" y="2592"/>
                </a:cxn>
                <a:cxn ang="0">
                  <a:pos x="708" y="2611"/>
                </a:cxn>
                <a:cxn ang="0">
                  <a:pos x="672" y="2477"/>
                </a:cxn>
                <a:cxn ang="0">
                  <a:pos x="186" y="2422"/>
                </a:cxn>
                <a:cxn ang="0">
                  <a:pos x="0" y="2522"/>
                </a:cxn>
              </a:cxnLst>
              <a:rect l="0" t="0" r="r" b="b"/>
              <a:pathLst>
                <a:path w="4803" h="3840">
                  <a:moveTo>
                    <a:pt x="0" y="2522"/>
                  </a:moveTo>
                  <a:lnTo>
                    <a:pt x="18" y="2242"/>
                  </a:lnTo>
                  <a:lnTo>
                    <a:pt x="159" y="2119"/>
                  </a:lnTo>
                  <a:lnTo>
                    <a:pt x="293" y="1922"/>
                  </a:lnTo>
                  <a:lnTo>
                    <a:pt x="640" y="1856"/>
                  </a:lnTo>
                  <a:lnTo>
                    <a:pt x="708" y="1890"/>
                  </a:lnTo>
                  <a:lnTo>
                    <a:pt x="829" y="1788"/>
                  </a:lnTo>
                  <a:lnTo>
                    <a:pt x="1153" y="1808"/>
                  </a:lnTo>
                  <a:lnTo>
                    <a:pt x="1361" y="1827"/>
                  </a:lnTo>
                  <a:lnTo>
                    <a:pt x="1578" y="1654"/>
                  </a:lnTo>
                  <a:lnTo>
                    <a:pt x="1586" y="1438"/>
                  </a:lnTo>
                  <a:lnTo>
                    <a:pt x="1512" y="1402"/>
                  </a:lnTo>
                  <a:lnTo>
                    <a:pt x="1503" y="1363"/>
                  </a:lnTo>
                  <a:lnTo>
                    <a:pt x="1645" y="1147"/>
                  </a:lnTo>
                  <a:lnTo>
                    <a:pt x="1598" y="1012"/>
                  </a:lnTo>
                  <a:lnTo>
                    <a:pt x="1551" y="965"/>
                  </a:lnTo>
                  <a:lnTo>
                    <a:pt x="1586" y="740"/>
                  </a:lnTo>
                  <a:lnTo>
                    <a:pt x="1787" y="674"/>
                  </a:lnTo>
                  <a:lnTo>
                    <a:pt x="1787" y="559"/>
                  </a:lnTo>
                  <a:lnTo>
                    <a:pt x="1775" y="457"/>
                  </a:lnTo>
                  <a:lnTo>
                    <a:pt x="1806" y="315"/>
                  </a:lnTo>
                  <a:lnTo>
                    <a:pt x="1929" y="283"/>
                  </a:lnTo>
                  <a:lnTo>
                    <a:pt x="1937" y="181"/>
                  </a:lnTo>
                  <a:lnTo>
                    <a:pt x="2003" y="181"/>
                  </a:lnTo>
                  <a:lnTo>
                    <a:pt x="2059" y="268"/>
                  </a:lnTo>
                  <a:lnTo>
                    <a:pt x="2165" y="268"/>
                  </a:lnTo>
                  <a:lnTo>
                    <a:pt x="2153" y="390"/>
                  </a:lnTo>
                  <a:lnTo>
                    <a:pt x="2374" y="315"/>
                  </a:lnTo>
                  <a:lnTo>
                    <a:pt x="2875" y="0"/>
                  </a:lnTo>
                  <a:lnTo>
                    <a:pt x="3091" y="11"/>
                  </a:lnTo>
                  <a:lnTo>
                    <a:pt x="3132" y="47"/>
                  </a:lnTo>
                  <a:lnTo>
                    <a:pt x="3100" y="134"/>
                  </a:lnTo>
                  <a:lnTo>
                    <a:pt x="3206" y="220"/>
                  </a:lnTo>
                  <a:lnTo>
                    <a:pt x="3320" y="220"/>
                  </a:lnTo>
                  <a:lnTo>
                    <a:pt x="3383" y="181"/>
                  </a:lnTo>
                  <a:lnTo>
                    <a:pt x="3537" y="229"/>
                  </a:lnTo>
                  <a:lnTo>
                    <a:pt x="3809" y="426"/>
                  </a:lnTo>
                  <a:lnTo>
                    <a:pt x="4018" y="445"/>
                  </a:lnTo>
                  <a:lnTo>
                    <a:pt x="4160" y="587"/>
                  </a:lnTo>
                  <a:lnTo>
                    <a:pt x="4199" y="681"/>
                  </a:lnTo>
                  <a:lnTo>
                    <a:pt x="4247" y="720"/>
                  </a:lnTo>
                  <a:lnTo>
                    <a:pt x="4502" y="740"/>
                  </a:lnTo>
                  <a:lnTo>
                    <a:pt x="4740" y="863"/>
                  </a:lnTo>
                  <a:lnTo>
                    <a:pt x="4803" y="929"/>
                  </a:lnTo>
                  <a:lnTo>
                    <a:pt x="4767" y="1024"/>
                  </a:lnTo>
                  <a:lnTo>
                    <a:pt x="4653" y="1118"/>
                  </a:lnTo>
                  <a:lnTo>
                    <a:pt x="4597" y="1229"/>
                  </a:lnTo>
                  <a:lnTo>
                    <a:pt x="4490" y="1296"/>
                  </a:lnTo>
                  <a:lnTo>
                    <a:pt x="4456" y="1410"/>
                  </a:lnTo>
                  <a:lnTo>
                    <a:pt x="4456" y="1485"/>
                  </a:lnTo>
                  <a:lnTo>
                    <a:pt x="4577" y="1627"/>
                  </a:lnTo>
                  <a:lnTo>
                    <a:pt x="4566" y="1721"/>
                  </a:lnTo>
                  <a:lnTo>
                    <a:pt x="4424" y="1721"/>
                  </a:lnTo>
                  <a:lnTo>
                    <a:pt x="4254" y="1796"/>
                  </a:lnTo>
                  <a:lnTo>
                    <a:pt x="4208" y="1890"/>
                  </a:lnTo>
                  <a:lnTo>
                    <a:pt x="4235" y="2024"/>
                  </a:lnTo>
                  <a:lnTo>
                    <a:pt x="4247" y="2091"/>
                  </a:lnTo>
                  <a:lnTo>
                    <a:pt x="4208" y="2167"/>
                  </a:lnTo>
                  <a:lnTo>
                    <a:pt x="4235" y="2336"/>
                  </a:lnTo>
                  <a:lnTo>
                    <a:pt x="4208" y="2431"/>
                  </a:lnTo>
                  <a:lnTo>
                    <a:pt x="4057" y="2659"/>
                  </a:lnTo>
                  <a:lnTo>
                    <a:pt x="4018" y="2725"/>
                  </a:lnTo>
                  <a:lnTo>
                    <a:pt x="3904" y="2713"/>
                  </a:lnTo>
                  <a:lnTo>
                    <a:pt x="3829" y="2788"/>
                  </a:lnTo>
                  <a:lnTo>
                    <a:pt x="3809" y="2970"/>
                  </a:lnTo>
                  <a:lnTo>
                    <a:pt x="3706" y="3057"/>
                  </a:lnTo>
                  <a:lnTo>
                    <a:pt x="3584" y="3388"/>
                  </a:lnTo>
                  <a:lnTo>
                    <a:pt x="3225" y="3529"/>
                  </a:lnTo>
                  <a:lnTo>
                    <a:pt x="2923" y="3509"/>
                  </a:lnTo>
                  <a:lnTo>
                    <a:pt x="2571" y="3659"/>
                  </a:lnTo>
                  <a:lnTo>
                    <a:pt x="2430" y="3706"/>
                  </a:lnTo>
                  <a:lnTo>
                    <a:pt x="2193" y="3734"/>
                  </a:lnTo>
                  <a:lnTo>
                    <a:pt x="2138" y="3820"/>
                  </a:lnTo>
                  <a:lnTo>
                    <a:pt x="1957" y="3840"/>
                  </a:lnTo>
                  <a:lnTo>
                    <a:pt x="1901" y="3781"/>
                  </a:lnTo>
                  <a:lnTo>
                    <a:pt x="1917" y="3718"/>
                  </a:lnTo>
                  <a:lnTo>
                    <a:pt x="1806" y="3604"/>
                  </a:lnTo>
                  <a:lnTo>
                    <a:pt x="1767" y="3529"/>
                  </a:lnTo>
                  <a:lnTo>
                    <a:pt x="1842" y="3273"/>
                  </a:lnTo>
                  <a:lnTo>
                    <a:pt x="1823" y="3198"/>
                  </a:lnTo>
                  <a:lnTo>
                    <a:pt x="1712" y="3186"/>
                  </a:lnTo>
                  <a:lnTo>
                    <a:pt x="1645" y="3140"/>
                  </a:lnTo>
                  <a:lnTo>
                    <a:pt x="1570" y="2922"/>
                  </a:lnTo>
                  <a:lnTo>
                    <a:pt x="1617" y="2848"/>
                  </a:lnTo>
                  <a:lnTo>
                    <a:pt x="1551" y="2725"/>
                  </a:lnTo>
                  <a:lnTo>
                    <a:pt x="1578" y="2659"/>
                  </a:lnTo>
                  <a:lnTo>
                    <a:pt x="1524" y="2584"/>
                  </a:lnTo>
                  <a:lnTo>
                    <a:pt x="1349" y="2524"/>
                  </a:lnTo>
                  <a:lnTo>
                    <a:pt x="1220" y="2611"/>
                  </a:lnTo>
                  <a:lnTo>
                    <a:pt x="963" y="2592"/>
                  </a:lnTo>
                  <a:lnTo>
                    <a:pt x="869" y="2647"/>
                  </a:lnTo>
                  <a:lnTo>
                    <a:pt x="708" y="2611"/>
                  </a:lnTo>
                  <a:lnTo>
                    <a:pt x="708" y="2545"/>
                  </a:lnTo>
                  <a:lnTo>
                    <a:pt x="672" y="2477"/>
                  </a:lnTo>
                  <a:lnTo>
                    <a:pt x="395" y="2489"/>
                  </a:lnTo>
                  <a:lnTo>
                    <a:pt x="186" y="2422"/>
                  </a:lnTo>
                  <a:lnTo>
                    <a:pt x="0" y="2522"/>
                  </a:lnTo>
                  <a:lnTo>
                    <a:pt x="0" y="2522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02" name="Freeform 11">
              <a:extLst>
                <a:ext uri="{FF2B5EF4-FFF2-40B4-BE49-F238E27FC236}">
                  <a16:creationId xmlns:a16="http://schemas.microsoft.com/office/drawing/2014/main" id="{F02431F5-E08B-4F8C-91A6-D61A3FA20A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173594" y="3199024"/>
              <a:ext cx="933947" cy="782970"/>
            </a:xfrm>
            <a:custGeom>
              <a:avLst/>
              <a:gdLst/>
              <a:ahLst/>
              <a:cxnLst>
                <a:cxn ang="0">
                  <a:pos x="2192" y="2373"/>
                </a:cxn>
                <a:cxn ang="0">
                  <a:pos x="2366" y="2249"/>
                </a:cxn>
                <a:cxn ang="0">
                  <a:pos x="2543" y="2013"/>
                </a:cxn>
                <a:cxn ang="0">
                  <a:pos x="2543" y="1945"/>
                </a:cxn>
                <a:cxn ang="0">
                  <a:pos x="2638" y="1843"/>
                </a:cxn>
                <a:cxn ang="0">
                  <a:pos x="2704" y="1662"/>
                </a:cxn>
                <a:cxn ang="0">
                  <a:pos x="2846" y="1445"/>
                </a:cxn>
                <a:cxn ang="0">
                  <a:pos x="3016" y="1323"/>
                </a:cxn>
                <a:cxn ang="0">
                  <a:pos x="3018" y="1281"/>
                </a:cxn>
                <a:cxn ang="0">
                  <a:pos x="3036" y="1001"/>
                </a:cxn>
                <a:cxn ang="0">
                  <a:pos x="2922" y="926"/>
                </a:cxn>
                <a:cxn ang="0">
                  <a:pos x="2618" y="804"/>
                </a:cxn>
                <a:cxn ang="0">
                  <a:pos x="2307" y="661"/>
                </a:cxn>
                <a:cxn ang="0">
                  <a:pos x="2212" y="661"/>
                </a:cxn>
                <a:cxn ang="0">
                  <a:pos x="2184" y="634"/>
                </a:cxn>
                <a:cxn ang="0">
                  <a:pos x="2239" y="547"/>
                </a:cxn>
                <a:cxn ang="0">
                  <a:pos x="2192" y="508"/>
                </a:cxn>
                <a:cxn ang="0">
                  <a:pos x="2118" y="508"/>
                </a:cxn>
                <a:cxn ang="0">
                  <a:pos x="2098" y="358"/>
                </a:cxn>
                <a:cxn ang="0">
                  <a:pos x="1948" y="263"/>
                </a:cxn>
                <a:cxn ang="0">
                  <a:pos x="1853" y="55"/>
                </a:cxn>
                <a:cxn ang="0">
                  <a:pos x="1764" y="45"/>
                </a:cxn>
                <a:cxn ang="0">
                  <a:pos x="1719" y="122"/>
                </a:cxn>
                <a:cxn ang="0">
                  <a:pos x="1656" y="122"/>
                </a:cxn>
                <a:cxn ang="0">
                  <a:pos x="1475" y="94"/>
                </a:cxn>
                <a:cxn ang="0">
                  <a:pos x="1353" y="177"/>
                </a:cxn>
                <a:cxn ang="0">
                  <a:pos x="833" y="0"/>
                </a:cxn>
                <a:cxn ang="0">
                  <a:pos x="758" y="35"/>
                </a:cxn>
                <a:cxn ang="0">
                  <a:pos x="595" y="67"/>
                </a:cxn>
                <a:cxn ang="0">
                  <a:pos x="481" y="197"/>
                </a:cxn>
                <a:cxn ang="0">
                  <a:pos x="284" y="338"/>
                </a:cxn>
                <a:cxn ang="0">
                  <a:pos x="218" y="460"/>
                </a:cxn>
                <a:cxn ang="0">
                  <a:pos x="63" y="1086"/>
                </a:cxn>
                <a:cxn ang="0">
                  <a:pos x="22" y="1236"/>
                </a:cxn>
                <a:cxn ang="0">
                  <a:pos x="0" y="1312"/>
                </a:cxn>
                <a:cxn ang="0">
                  <a:pos x="36" y="1547"/>
                </a:cxn>
                <a:cxn ang="0">
                  <a:pos x="123" y="1690"/>
                </a:cxn>
                <a:cxn ang="0">
                  <a:pos x="104" y="2256"/>
                </a:cxn>
                <a:cxn ang="0">
                  <a:pos x="150" y="2288"/>
                </a:cxn>
                <a:cxn ang="0">
                  <a:pos x="218" y="2256"/>
                </a:cxn>
                <a:cxn ang="0">
                  <a:pos x="434" y="2316"/>
                </a:cxn>
                <a:cxn ang="0">
                  <a:pos x="624" y="2324"/>
                </a:cxn>
                <a:cxn ang="0">
                  <a:pos x="738" y="2249"/>
                </a:cxn>
                <a:cxn ang="0">
                  <a:pos x="860" y="2336"/>
                </a:cxn>
                <a:cxn ang="0">
                  <a:pos x="982" y="2343"/>
                </a:cxn>
                <a:cxn ang="0">
                  <a:pos x="1076" y="2608"/>
                </a:cxn>
                <a:cxn ang="0">
                  <a:pos x="1105" y="2844"/>
                </a:cxn>
                <a:cxn ang="0">
                  <a:pos x="1151" y="3006"/>
                </a:cxn>
                <a:cxn ang="0">
                  <a:pos x="1183" y="3072"/>
                </a:cxn>
                <a:cxn ang="0">
                  <a:pos x="1278" y="3108"/>
                </a:cxn>
                <a:cxn ang="0">
                  <a:pos x="1494" y="3013"/>
                </a:cxn>
                <a:cxn ang="0">
                  <a:pos x="1625" y="3091"/>
                </a:cxn>
                <a:cxn ang="0">
                  <a:pos x="1712" y="3033"/>
                </a:cxn>
                <a:cxn ang="0">
                  <a:pos x="1766" y="2808"/>
                </a:cxn>
                <a:cxn ang="0">
                  <a:pos x="1880" y="2693"/>
                </a:cxn>
                <a:cxn ang="0">
                  <a:pos x="1900" y="2579"/>
                </a:cxn>
                <a:cxn ang="0">
                  <a:pos x="2192" y="2373"/>
                </a:cxn>
                <a:cxn ang="0">
                  <a:pos x="2192" y="2373"/>
                </a:cxn>
              </a:cxnLst>
              <a:rect l="0" t="0" r="r" b="b"/>
              <a:pathLst>
                <a:path w="3036" h="3108">
                  <a:moveTo>
                    <a:pt x="2192" y="2373"/>
                  </a:moveTo>
                  <a:lnTo>
                    <a:pt x="2366" y="2249"/>
                  </a:lnTo>
                  <a:lnTo>
                    <a:pt x="2543" y="2013"/>
                  </a:lnTo>
                  <a:lnTo>
                    <a:pt x="2543" y="1945"/>
                  </a:lnTo>
                  <a:lnTo>
                    <a:pt x="2638" y="1843"/>
                  </a:lnTo>
                  <a:lnTo>
                    <a:pt x="2704" y="1662"/>
                  </a:lnTo>
                  <a:lnTo>
                    <a:pt x="2846" y="1445"/>
                  </a:lnTo>
                  <a:lnTo>
                    <a:pt x="3016" y="1323"/>
                  </a:lnTo>
                  <a:lnTo>
                    <a:pt x="3018" y="1281"/>
                  </a:lnTo>
                  <a:lnTo>
                    <a:pt x="3036" y="1001"/>
                  </a:lnTo>
                  <a:lnTo>
                    <a:pt x="2922" y="926"/>
                  </a:lnTo>
                  <a:lnTo>
                    <a:pt x="2618" y="804"/>
                  </a:lnTo>
                  <a:lnTo>
                    <a:pt x="2307" y="661"/>
                  </a:lnTo>
                  <a:lnTo>
                    <a:pt x="2212" y="661"/>
                  </a:lnTo>
                  <a:lnTo>
                    <a:pt x="2184" y="634"/>
                  </a:lnTo>
                  <a:lnTo>
                    <a:pt x="2239" y="547"/>
                  </a:lnTo>
                  <a:lnTo>
                    <a:pt x="2192" y="508"/>
                  </a:lnTo>
                  <a:lnTo>
                    <a:pt x="2118" y="508"/>
                  </a:lnTo>
                  <a:lnTo>
                    <a:pt x="2098" y="358"/>
                  </a:lnTo>
                  <a:lnTo>
                    <a:pt x="1948" y="263"/>
                  </a:lnTo>
                  <a:lnTo>
                    <a:pt x="1853" y="55"/>
                  </a:lnTo>
                  <a:lnTo>
                    <a:pt x="1764" y="45"/>
                  </a:lnTo>
                  <a:lnTo>
                    <a:pt x="1719" y="122"/>
                  </a:lnTo>
                  <a:lnTo>
                    <a:pt x="1656" y="122"/>
                  </a:lnTo>
                  <a:lnTo>
                    <a:pt x="1475" y="94"/>
                  </a:lnTo>
                  <a:lnTo>
                    <a:pt x="1353" y="177"/>
                  </a:lnTo>
                  <a:lnTo>
                    <a:pt x="833" y="0"/>
                  </a:lnTo>
                  <a:lnTo>
                    <a:pt x="758" y="35"/>
                  </a:lnTo>
                  <a:lnTo>
                    <a:pt x="595" y="67"/>
                  </a:lnTo>
                  <a:lnTo>
                    <a:pt x="481" y="197"/>
                  </a:lnTo>
                  <a:lnTo>
                    <a:pt x="284" y="338"/>
                  </a:lnTo>
                  <a:lnTo>
                    <a:pt x="218" y="460"/>
                  </a:lnTo>
                  <a:lnTo>
                    <a:pt x="63" y="1086"/>
                  </a:lnTo>
                  <a:lnTo>
                    <a:pt x="22" y="1236"/>
                  </a:lnTo>
                  <a:lnTo>
                    <a:pt x="0" y="1312"/>
                  </a:lnTo>
                  <a:lnTo>
                    <a:pt x="36" y="1547"/>
                  </a:lnTo>
                  <a:lnTo>
                    <a:pt x="123" y="1690"/>
                  </a:lnTo>
                  <a:lnTo>
                    <a:pt x="104" y="2256"/>
                  </a:lnTo>
                  <a:lnTo>
                    <a:pt x="150" y="2288"/>
                  </a:lnTo>
                  <a:lnTo>
                    <a:pt x="218" y="2256"/>
                  </a:lnTo>
                  <a:lnTo>
                    <a:pt x="434" y="2316"/>
                  </a:lnTo>
                  <a:lnTo>
                    <a:pt x="624" y="2324"/>
                  </a:lnTo>
                  <a:lnTo>
                    <a:pt x="738" y="2249"/>
                  </a:lnTo>
                  <a:lnTo>
                    <a:pt x="860" y="2336"/>
                  </a:lnTo>
                  <a:lnTo>
                    <a:pt x="982" y="2343"/>
                  </a:lnTo>
                  <a:lnTo>
                    <a:pt x="1076" y="2608"/>
                  </a:lnTo>
                  <a:lnTo>
                    <a:pt x="1105" y="2844"/>
                  </a:lnTo>
                  <a:lnTo>
                    <a:pt x="1151" y="3006"/>
                  </a:lnTo>
                  <a:lnTo>
                    <a:pt x="1183" y="3072"/>
                  </a:lnTo>
                  <a:lnTo>
                    <a:pt x="1278" y="3108"/>
                  </a:lnTo>
                  <a:lnTo>
                    <a:pt x="1494" y="3013"/>
                  </a:lnTo>
                  <a:lnTo>
                    <a:pt x="1625" y="3091"/>
                  </a:lnTo>
                  <a:lnTo>
                    <a:pt x="1712" y="3033"/>
                  </a:lnTo>
                  <a:lnTo>
                    <a:pt x="1766" y="2808"/>
                  </a:lnTo>
                  <a:lnTo>
                    <a:pt x="1880" y="2693"/>
                  </a:lnTo>
                  <a:lnTo>
                    <a:pt x="1900" y="2579"/>
                  </a:lnTo>
                  <a:lnTo>
                    <a:pt x="2192" y="2373"/>
                  </a:lnTo>
                  <a:lnTo>
                    <a:pt x="2192" y="2373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03" name="Freeform 12">
              <a:extLst>
                <a:ext uri="{FF2B5EF4-FFF2-40B4-BE49-F238E27FC236}">
                  <a16:creationId xmlns:a16="http://schemas.microsoft.com/office/drawing/2014/main" id="{925F170E-DAB4-4D03-A4EF-C7EB82A465D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15150" y="2645385"/>
              <a:ext cx="970851" cy="803818"/>
            </a:xfrm>
            <a:custGeom>
              <a:avLst/>
              <a:gdLst/>
              <a:ahLst/>
              <a:cxnLst>
                <a:cxn ang="0">
                  <a:pos x="3094" y="347"/>
                </a:cxn>
                <a:cxn ang="0">
                  <a:pos x="3102" y="516"/>
                </a:cxn>
                <a:cxn ang="0">
                  <a:pos x="3000" y="717"/>
                </a:cxn>
                <a:cxn ang="0">
                  <a:pos x="3150" y="1111"/>
                </a:cxn>
                <a:cxn ang="0">
                  <a:pos x="2988" y="1237"/>
                </a:cxn>
                <a:cxn ang="0">
                  <a:pos x="2866" y="1150"/>
                </a:cxn>
                <a:cxn ang="0">
                  <a:pos x="2735" y="1284"/>
                </a:cxn>
                <a:cxn ang="0">
                  <a:pos x="2716" y="1528"/>
                </a:cxn>
                <a:cxn ang="0">
                  <a:pos x="2515" y="1709"/>
                </a:cxn>
                <a:cxn ang="0">
                  <a:pos x="2527" y="1981"/>
                </a:cxn>
                <a:cxn ang="0">
                  <a:pos x="2432" y="2332"/>
                </a:cxn>
                <a:cxn ang="0">
                  <a:pos x="2515" y="2407"/>
                </a:cxn>
                <a:cxn ang="0">
                  <a:pos x="2290" y="2796"/>
                </a:cxn>
                <a:cxn ang="0">
                  <a:pos x="1758" y="2757"/>
                </a:cxn>
                <a:cxn ang="0">
                  <a:pos x="1569" y="2825"/>
                </a:cxn>
                <a:cxn ang="0">
                  <a:pos x="1088" y="3088"/>
                </a:cxn>
                <a:cxn ang="0">
                  <a:pos x="833" y="3136"/>
                </a:cxn>
                <a:cxn ang="0">
                  <a:pos x="218" y="2871"/>
                </a:cxn>
                <a:cxn ang="0">
                  <a:pos x="95" y="2844"/>
                </a:cxn>
                <a:cxn ang="0">
                  <a:pos x="103" y="2718"/>
                </a:cxn>
                <a:cxn ang="0">
                  <a:pos x="9" y="2568"/>
                </a:cxn>
                <a:cxn ang="0">
                  <a:pos x="56" y="2075"/>
                </a:cxn>
                <a:cxn ang="0">
                  <a:pos x="418" y="1623"/>
                </a:cxn>
                <a:cxn ang="0">
                  <a:pos x="718" y="1252"/>
                </a:cxn>
                <a:cxn ang="0">
                  <a:pos x="833" y="1237"/>
                </a:cxn>
                <a:cxn ang="0">
                  <a:pos x="1049" y="543"/>
                </a:cxn>
                <a:cxn ang="0">
                  <a:pos x="1380" y="0"/>
                </a:cxn>
                <a:cxn ang="0">
                  <a:pos x="1695" y="305"/>
                </a:cxn>
                <a:cxn ang="0">
                  <a:pos x="1962" y="227"/>
                </a:cxn>
                <a:cxn ang="0">
                  <a:pos x="2139" y="266"/>
                </a:cxn>
                <a:cxn ang="0">
                  <a:pos x="2356" y="217"/>
                </a:cxn>
                <a:cxn ang="0">
                  <a:pos x="2504" y="335"/>
                </a:cxn>
                <a:cxn ang="0">
                  <a:pos x="2927" y="266"/>
                </a:cxn>
                <a:cxn ang="0">
                  <a:pos x="3048" y="279"/>
                </a:cxn>
              </a:cxnLst>
              <a:rect l="0" t="0" r="r" b="b"/>
              <a:pathLst>
                <a:path w="3150" h="3211">
                  <a:moveTo>
                    <a:pt x="3048" y="279"/>
                  </a:moveTo>
                  <a:lnTo>
                    <a:pt x="3094" y="347"/>
                  </a:lnTo>
                  <a:lnTo>
                    <a:pt x="3075" y="374"/>
                  </a:lnTo>
                  <a:lnTo>
                    <a:pt x="3102" y="516"/>
                  </a:lnTo>
                  <a:lnTo>
                    <a:pt x="3027" y="591"/>
                  </a:lnTo>
                  <a:lnTo>
                    <a:pt x="3000" y="717"/>
                  </a:lnTo>
                  <a:lnTo>
                    <a:pt x="3130" y="941"/>
                  </a:lnTo>
                  <a:lnTo>
                    <a:pt x="3150" y="1111"/>
                  </a:lnTo>
                  <a:lnTo>
                    <a:pt x="3094" y="1237"/>
                  </a:lnTo>
                  <a:lnTo>
                    <a:pt x="2988" y="1237"/>
                  </a:lnTo>
                  <a:lnTo>
                    <a:pt x="2932" y="1150"/>
                  </a:lnTo>
                  <a:lnTo>
                    <a:pt x="2866" y="1150"/>
                  </a:lnTo>
                  <a:lnTo>
                    <a:pt x="2858" y="1252"/>
                  </a:lnTo>
                  <a:lnTo>
                    <a:pt x="2735" y="1284"/>
                  </a:lnTo>
                  <a:lnTo>
                    <a:pt x="2704" y="1426"/>
                  </a:lnTo>
                  <a:lnTo>
                    <a:pt x="2716" y="1528"/>
                  </a:lnTo>
                  <a:lnTo>
                    <a:pt x="2716" y="1643"/>
                  </a:lnTo>
                  <a:lnTo>
                    <a:pt x="2515" y="1709"/>
                  </a:lnTo>
                  <a:lnTo>
                    <a:pt x="2480" y="1934"/>
                  </a:lnTo>
                  <a:lnTo>
                    <a:pt x="2527" y="1981"/>
                  </a:lnTo>
                  <a:lnTo>
                    <a:pt x="2574" y="2116"/>
                  </a:lnTo>
                  <a:lnTo>
                    <a:pt x="2432" y="2332"/>
                  </a:lnTo>
                  <a:lnTo>
                    <a:pt x="2441" y="2371"/>
                  </a:lnTo>
                  <a:lnTo>
                    <a:pt x="2515" y="2407"/>
                  </a:lnTo>
                  <a:lnTo>
                    <a:pt x="2507" y="2623"/>
                  </a:lnTo>
                  <a:lnTo>
                    <a:pt x="2290" y="2796"/>
                  </a:lnTo>
                  <a:lnTo>
                    <a:pt x="2082" y="2777"/>
                  </a:lnTo>
                  <a:lnTo>
                    <a:pt x="1758" y="2757"/>
                  </a:lnTo>
                  <a:lnTo>
                    <a:pt x="1637" y="2859"/>
                  </a:lnTo>
                  <a:lnTo>
                    <a:pt x="1569" y="2825"/>
                  </a:lnTo>
                  <a:lnTo>
                    <a:pt x="1222" y="2891"/>
                  </a:lnTo>
                  <a:lnTo>
                    <a:pt x="1088" y="3088"/>
                  </a:lnTo>
                  <a:lnTo>
                    <a:pt x="947" y="3211"/>
                  </a:lnTo>
                  <a:lnTo>
                    <a:pt x="833" y="3136"/>
                  </a:lnTo>
                  <a:lnTo>
                    <a:pt x="529" y="3014"/>
                  </a:lnTo>
                  <a:lnTo>
                    <a:pt x="218" y="2871"/>
                  </a:lnTo>
                  <a:lnTo>
                    <a:pt x="123" y="2871"/>
                  </a:lnTo>
                  <a:lnTo>
                    <a:pt x="95" y="2844"/>
                  </a:lnTo>
                  <a:lnTo>
                    <a:pt x="150" y="2757"/>
                  </a:lnTo>
                  <a:lnTo>
                    <a:pt x="103" y="2718"/>
                  </a:lnTo>
                  <a:lnTo>
                    <a:pt x="29" y="2718"/>
                  </a:lnTo>
                  <a:lnTo>
                    <a:pt x="9" y="2568"/>
                  </a:lnTo>
                  <a:lnTo>
                    <a:pt x="0" y="2293"/>
                  </a:lnTo>
                  <a:lnTo>
                    <a:pt x="56" y="2075"/>
                  </a:lnTo>
                  <a:lnTo>
                    <a:pt x="257" y="1859"/>
                  </a:lnTo>
                  <a:lnTo>
                    <a:pt x="418" y="1623"/>
                  </a:lnTo>
                  <a:lnTo>
                    <a:pt x="541" y="1584"/>
                  </a:lnTo>
                  <a:lnTo>
                    <a:pt x="718" y="1252"/>
                  </a:lnTo>
                  <a:lnTo>
                    <a:pt x="785" y="1218"/>
                  </a:lnTo>
                  <a:lnTo>
                    <a:pt x="833" y="1237"/>
                  </a:lnTo>
                  <a:lnTo>
                    <a:pt x="954" y="1016"/>
                  </a:lnTo>
                  <a:lnTo>
                    <a:pt x="1049" y="543"/>
                  </a:lnTo>
                  <a:lnTo>
                    <a:pt x="1163" y="327"/>
                  </a:lnTo>
                  <a:lnTo>
                    <a:pt x="1380" y="0"/>
                  </a:lnTo>
                  <a:lnTo>
                    <a:pt x="1557" y="9"/>
                  </a:lnTo>
                  <a:lnTo>
                    <a:pt x="1695" y="305"/>
                  </a:lnTo>
                  <a:lnTo>
                    <a:pt x="1774" y="177"/>
                  </a:lnTo>
                  <a:lnTo>
                    <a:pt x="1962" y="227"/>
                  </a:lnTo>
                  <a:lnTo>
                    <a:pt x="2011" y="344"/>
                  </a:lnTo>
                  <a:lnTo>
                    <a:pt x="2139" y="266"/>
                  </a:lnTo>
                  <a:lnTo>
                    <a:pt x="2366" y="305"/>
                  </a:lnTo>
                  <a:lnTo>
                    <a:pt x="2356" y="217"/>
                  </a:lnTo>
                  <a:lnTo>
                    <a:pt x="2414" y="217"/>
                  </a:lnTo>
                  <a:lnTo>
                    <a:pt x="2504" y="335"/>
                  </a:lnTo>
                  <a:lnTo>
                    <a:pt x="2868" y="374"/>
                  </a:lnTo>
                  <a:lnTo>
                    <a:pt x="2927" y="266"/>
                  </a:lnTo>
                  <a:lnTo>
                    <a:pt x="3048" y="279"/>
                  </a:lnTo>
                  <a:lnTo>
                    <a:pt x="3048" y="279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04" name="Freeform 13">
              <a:extLst>
                <a:ext uri="{FF2B5EF4-FFF2-40B4-BE49-F238E27FC236}">
                  <a16:creationId xmlns:a16="http://schemas.microsoft.com/office/drawing/2014/main" id="{98D9B947-B267-46DC-A2F5-CAE9C257DBD5}"/>
                </a:ext>
              </a:extLst>
            </p:cNvPr>
            <p:cNvSpPr>
              <a:spLocks/>
            </p:cNvSpPr>
            <p:nvPr/>
          </p:nvSpPr>
          <p:spPr bwMode="gray">
            <a:xfrm>
              <a:off x="4155799" y="1841565"/>
              <a:ext cx="672782" cy="896477"/>
            </a:xfrm>
            <a:custGeom>
              <a:avLst/>
              <a:gdLst/>
              <a:ahLst/>
              <a:cxnLst>
                <a:cxn ang="0">
                  <a:pos x="1952" y="3474"/>
                </a:cxn>
                <a:cxn ang="0">
                  <a:pos x="1831" y="3461"/>
                </a:cxn>
                <a:cxn ang="0">
                  <a:pos x="1772" y="3569"/>
                </a:cxn>
                <a:cxn ang="0">
                  <a:pos x="1408" y="3530"/>
                </a:cxn>
                <a:cxn ang="0">
                  <a:pos x="1318" y="3412"/>
                </a:cxn>
                <a:cxn ang="0">
                  <a:pos x="1260" y="3412"/>
                </a:cxn>
                <a:cxn ang="0">
                  <a:pos x="1270" y="3500"/>
                </a:cxn>
                <a:cxn ang="0">
                  <a:pos x="1043" y="3461"/>
                </a:cxn>
                <a:cxn ang="0">
                  <a:pos x="915" y="3539"/>
                </a:cxn>
                <a:cxn ang="0">
                  <a:pos x="866" y="3422"/>
                </a:cxn>
                <a:cxn ang="0">
                  <a:pos x="678" y="3372"/>
                </a:cxn>
                <a:cxn ang="0">
                  <a:pos x="599" y="3500"/>
                </a:cxn>
                <a:cxn ang="0">
                  <a:pos x="461" y="3204"/>
                </a:cxn>
                <a:cxn ang="0">
                  <a:pos x="284" y="3195"/>
                </a:cxn>
                <a:cxn ang="0">
                  <a:pos x="67" y="3522"/>
                </a:cxn>
                <a:cxn ang="0">
                  <a:pos x="0" y="3297"/>
                </a:cxn>
                <a:cxn ang="0">
                  <a:pos x="0" y="2711"/>
                </a:cxn>
                <a:cxn ang="0">
                  <a:pos x="189" y="2116"/>
                </a:cxn>
                <a:cxn ang="0">
                  <a:pos x="398" y="1765"/>
                </a:cxn>
                <a:cxn ang="0">
                  <a:pos x="587" y="1517"/>
                </a:cxn>
                <a:cxn ang="0">
                  <a:pos x="674" y="1198"/>
                </a:cxn>
                <a:cxn ang="0">
                  <a:pos x="627" y="1076"/>
                </a:cxn>
                <a:cxn ang="0">
                  <a:pos x="694" y="875"/>
                </a:cxn>
                <a:cxn ang="0">
                  <a:pos x="694" y="808"/>
                </a:cxn>
                <a:cxn ang="0">
                  <a:pos x="852" y="713"/>
                </a:cxn>
                <a:cxn ang="0">
                  <a:pos x="1053" y="489"/>
                </a:cxn>
                <a:cxn ang="0">
                  <a:pos x="1136" y="194"/>
                </a:cxn>
                <a:cxn ang="0">
                  <a:pos x="1061" y="138"/>
                </a:cxn>
                <a:cxn ang="0">
                  <a:pos x="930" y="111"/>
                </a:cxn>
                <a:cxn ang="0">
                  <a:pos x="1043" y="0"/>
                </a:cxn>
                <a:cxn ang="0">
                  <a:pos x="1182" y="72"/>
                </a:cxn>
                <a:cxn ang="0">
                  <a:pos x="1297" y="72"/>
                </a:cxn>
                <a:cxn ang="0">
                  <a:pos x="1459" y="233"/>
                </a:cxn>
                <a:cxn ang="0">
                  <a:pos x="1478" y="667"/>
                </a:cxn>
                <a:cxn ang="0">
                  <a:pos x="1411" y="847"/>
                </a:cxn>
                <a:cxn ang="0">
                  <a:pos x="1345" y="915"/>
                </a:cxn>
                <a:cxn ang="0">
                  <a:pos x="1439" y="970"/>
                </a:cxn>
                <a:cxn ang="0">
                  <a:pos x="1459" y="1065"/>
                </a:cxn>
                <a:cxn ang="0">
                  <a:pos x="1648" y="1301"/>
                </a:cxn>
                <a:cxn ang="0">
                  <a:pos x="1797" y="1265"/>
                </a:cxn>
                <a:cxn ang="0">
                  <a:pos x="1877" y="1313"/>
                </a:cxn>
                <a:cxn ang="0">
                  <a:pos x="1877" y="1442"/>
                </a:cxn>
                <a:cxn ang="0">
                  <a:pos x="1734" y="1509"/>
                </a:cxn>
                <a:cxn ang="0">
                  <a:pos x="1627" y="1745"/>
                </a:cxn>
                <a:cxn ang="0">
                  <a:pos x="1734" y="1907"/>
                </a:cxn>
                <a:cxn ang="0">
                  <a:pos x="1836" y="2010"/>
                </a:cxn>
                <a:cxn ang="0">
                  <a:pos x="1809" y="2056"/>
                </a:cxn>
                <a:cxn ang="0">
                  <a:pos x="1904" y="2265"/>
                </a:cxn>
                <a:cxn ang="0">
                  <a:pos x="2101" y="2321"/>
                </a:cxn>
                <a:cxn ang="0">
                  <a:pos x="2191" y="2348"/>
                </a:cxn>
                <a:cxn ang="0">
                  <a:pos x="1911" y="2597"/>
                </a:cxn>
                <a:cxn ang="0">
                  <a:pos x="1923" y="2643"/>
                </a:cxn>
                <a:cxn ang="0">
                  <a:pos x="1829" y="2758"/>
                </a:cxn>
                <a:cxn ang="0">
                  <a:pos x="1857" y="2840"/>
                </a:cxn>
                <a:cxn ang="0">
                  <a:pos x="2006" y="2935"/>
                </a:cxn>
                <a:cxn ang="0">
                  <a:pos x="1959" y="3002"/>
                </a:cxn>
                <a:cxn ang="0">
                  <a:pos x="1986" y="3069"/>
                </a:cxn>
                <a:cxn ang="0">
                  <a:pos x="1911" y="3163"/>
                </a:cxn>
                <a:cxn ang="0">
                  <a:pos x="1904" y="3286"/>
                </a:cxn>
                <a:cxn ang="0">
                  <a:pos x="1998" y="3345"/>
                </a:cxn>
                <a:cxn ang="0">
                  <a:pos x="1952" y="3474"/>
                </a:cxn>
                <a:cxn ang="0">
                  <a:pos x="1952" y="3474"/>
                </a:cxn>
              </a:cxnLst>
              <a:rect l="0" t="0" r="r" b="b"/>
              <a:pathLst>
                <a:path w="2191" h="3569">
                  <a:moveTo>
                    <a:pt x="1952" y="3474"/>
                  </a:moveTo>
                  <a:lnTo>
                    <a:pt x="1831" y="3461"/>
                  </a:lnTo>
                  <a:lnTo>
                    <a:pt x="1772" y="3569"/>
                  </a:lnTo>
                  <a:lnTo>
                    <a:pt x="1408" y="3530"/>
                  </a:lnTo>
                  <a:lnTo>
                    <a:pt x="1318" y="3412"/>
                  </a:lnTo>
                  <a:lnTo>
                    <a:pt x="1260" y="3412"/>
                  </a:lnTo>
                  <a:lnTo>
                    <a:pt x="1270" y="3500"/>
                  </a:lnTo>
                  <a:lnTo>
                    <a:pt x="1043" y="3461"/>
                  </a:lnTo>
                  <a:lnTo>
                    <a:pt x="915" y="3539"/>
                  </a:lnTo>
                  <a:lnTo>
                    <a:pt x="866" y="3422"/>
                  </a:lnTo>
                  <a:lnTo>
                    <a:pt x="678" y="3372"/>
                  </a:lnTo>
                  <a:lnTo>
                    <a:pt x="599" y="3500"/>
                  </a:lnTo>
                  <a:lnTo>
                    <a:pt x="461" y="3204"/>
                  </a:lnTo>
                  <a:lnTo>
                    <a:pt x="284" y="3195"/>
                  </a:lnTo>
                  <a:lnTo>
                    <a:pt x="67" y="3522"/>
                  </a:lnTo>
                  <a:lnTo>
                    <a:pt x="0" y="3297"/>
                  </a:lnTo>
                  <a:lnTo>
                    <a:pt x="0" y="2711"/>
                  </a:lnTo>
                  <a:lnTo>
                    <a:pt x="189" y="2116"/>
                  </a:lnTo>
                  <a:lnTo>
                    <a:pt x="398" y="1765"/>
                  </a:lnTo>
                  <a:lnTo>
                    <a:pt x="587" y="1517"/>
                  </a:lnTo>
                  <a:lnTo>
                    <a:pt x="674" y="1198"/>
                  </a:lnTo>
                  <a:lnTo>
                    <a:pt x="627" y="1076"/>
                  </a:lnTo>
                  <a:lnTo>
                    <a:pt x="694" y="875"/>
                  </a:lnTo>
                  <a:lnTo>
                    <a:pt x="694" y="808"/>
                  </a:lnTo>
                  <a:lnTo>
                    <a:pt x="852" y="713"/>
                  </a:lnTo>
                  <a:lnTo>
                    <a:pt x="1053" y="489"/>
                  </a:lnTo>
                  <a:lnTo>
                    <a:pt x="1136" y="194"/>
                  </a:lnTo>
                  <a:lnTo>
                    <a:pt x="1061" y="138"/>
                  </a:lnTo>
                  <a:lnTo>
                    <a:pt x="930" y="111"/>
                  </a:lnTo>
                  <a:lnTo>
                    <a:pt x="1043" y="0"/>
                  </a:lnTo>
                  <a:lnTo>
                    <a:pt x="1182" y="72"/>
                  </a:lnTo>
                  <a:lnTo>
                    <a:pt x="1297" y="72"/>
                  </a:lnTo>
                  <a:lnTo>
                    <a:pt x="1459" y="233"/>
                  </a:lnTo>
                  <a:lnTo>
                    <a:pt x="1478" y="667"/>
                  </a:lnTo>
                  <a:lnTo>
                    <a:pt x="1411" y="847"/>
                  </a:lnTo>
                  <a:lnTo>
                    <a:pt x="1345" y="915"/>
                  </a:lnTo>
                  <a:lnTo>
                    <a:pt x="1439" y="970"/>
                  </a:lnTo>
                  <a:lnTo>
                    <a:pt x="1459" y="1065"/>
                  </a:lnTo>
                  <a:lnTo>
                    <a:pt x="1648" y="1301"/>
                  </a:lnTo>
                  <a:lnTo>
                    <a:pt x="1797" y="1265"/>
                  </a:lnTo>
                  <a:lnTo>
                    <a:pt x="1877" y="1313"/>
                  </a:lnTo>
                  <a:lnTo>
                    <a:pt x="1877" y="1442"/>
                  </a:lnTo>
                  <a:lnTo>
                    <a:pt x="1734" y="1509"/>
                  </a:lnTo>
                  <a:lnTo>
                    <a:pt x="1627" y="1745"/>
                  </a:lnTo>
                  <a:lnTo>
                    <a:pt x="1734" y="1907"/>
                  </a:lnTo>
                  <a:lnTo>
                    <a:pt x="1836" y="2010"/>
                  </a:lnTo>
                  <a:lnTo>
                    <a:pt x="1809" y="2056"/>
                  </a:lnTo>
                  <a:lnTo>
                    <a:pt x="1904" y="2265"/>
                  </a:lnTo>
                  <a:lnTo>
                    <a:pt x="2101" y="2321"/>
                  </a:lnTo>
                  <a:lnTo>
                    <a:pt x="2191" y="2348"/>
                  </a:lnTo>
                  <a:lnTo>
                    <a:pt x="1911" y="2597"/>
                  </a:lnTo>
                  <a:lnTo>
                    <a:pt x="1923" y="2643"/>
                  </a:lnTo>
                  <a:lnTo>
                    <a:pt x="1829" y="2758"/>
                  </a:lnTo>
                  <a:lnTo>
                    <a:pt x="1857" y="2840"/>
                  </a:lnTo>
                  <a:lnTo>
                    <a:pt x="2006" y="2935"/>
                  </a:lnTo>
                  <a:lnTo>
                    <a:pt x="1959" y="3002"/>
                  </a:lnTo>
                  <a:lnTo>
                    <a:pt x="1986" y="3069"/>
                  </a:lnTo>
                  <a:lnTo>
                    <a:pt x="1911" y="3163"/>
                  </a:lnTo>
                  <a:lnTo>
                    <a:pt x="1904" y="3286"/>
                  </a:lnTo>
                  <a:lnTo>
                    <a:pt x="1998" y="3345"/>
                  </a:lnTo>
                  <a:lnTo>
                    <a:pt x="1952" y="3474"/>
                  </a:lnTo>
                  <a:lnTo>
                    <a:pt x="1952" y="3474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05" name="Freeform 14">
              <a:extLst>
                <a:ext uri="{FF2B5EF4-FFF2-40B4-BE49-F238E27FC236}">
                  <a16:creationId xmlns:a16="http://schemas.microsoft.com/office/drawing/2014/main" id="{D4938E9D-E485-4B53-9327-4C23B431AC19}"/>
                </a:ext>
              </a:extLst>
            </p:cNvPr>
            <p:cNvSpPr>
              <a:spLocks/>
            </p:cNvSpPr>
            <p:nvPr/>
          </p:nvSpPr>
          <p:spPr bwMode="gray">
            <a:xfrm>
              <a:off x="4717871" y="2260849"/>
              <a:ext cx="1217820" cy="1107277"/>
            </a:xfrm>
            <a:custGeom>
              <a:avLst/>
              <a:gdLst/>
              <a:ahLst/>
              <a:cxnLst>
                <a:cxn ang="0">
                  <a:pos x="82" y="927"/>
                </a:cxn>
                <a:cxn ang="0">
                  <a:pos x="0" y="1088"/>
                </a:cxn>
                <a:cxn ang="0">
                  <a:pos x="177" y="1265"/>
                </a:cxn>
                <a:cxn ang="0">
                  <a:pos x="157" y="1399"/>
                </a:cxn>
                <a:cxn ang="0">
                  <a:pos x="75" y="1616"/>
                </a:cxn>
                <a:cxn ang="0">
                  <a:pos x="123" y="1804"/>
                </a:cxn>
                <a:cxn ang="0">
                  <a:pos x="150" y="1899"/>
                </a:cxn>
                <a:cxn ang="0">
                  <a:pos x="102" y="2116"/>
                </a:cxn>
                <a:cxn ang="0">
                  <a:pos x="205" y="2466"/>
                </a:cxn>
                <a:cxn ang="0">
                  <a:pos x="169" y="2762"/>
                </a:cxn>
                <a:cxn ang="0">
                  <a:pos x="378" y="2809"/>
                </a:cxn>
                <a:cxn ang="0">
                  <a:pos x="1095" y="2505"/>
                </a:cxn>
                <a:cxn ang="0">
                  <a:pos x="1104" y="2628"/>
                </a:cxn>
                <a:cxn ang="0">
                  <a:pos x="1324" y="2714"/>
                </a:cxn>
                <a:cxn ang="0">
                  <a:pos x="1541" y="2723"/>
                </a:cxn>
                <a:cxn ang="0">
                  <a:pos x="2022" y="2939"/>
                </a:cxn>
                <a:cxn ang="0">
                  <a:pos x="2203" y="3175"/>
                </a:cxn>
                <a:cxn ang="0">
                  <a:pos x="2506" y="3234"/>
                </a:cxn>
                <a:cxn ang="0">
                  <a:pos x="2807" y="3423"/>
                </a:cxn>
                <a:cxn ang="0">
                  <a:pos x="2657" y="3612"/>
                </a:cxn>
                <a:cxn ang="0">
                  <a:pos x="2494" y="3790"/>
                </a:cxn>
                <a:cxn ang="0">
                  <a:pos x="2460" y="3979"/>
                </a:cxn>
                <a:cxn ang="0">
                  <a:pos x="2570" y="4215"/>
                </a:cxn>
                <a:cxn ang="0">
                  <a:pos x="3035" y="4188"/>
                </a:cxn>
                <a:cxn ang="0">
                  <a:pos x="3216" y="3384"/>
                </a:cxn>
                <a:cxn ang="0">
                  <a:pos x="3177" y="2789"/>
                </a:cxn>
                <a:cxn ang="0">
                  <a:pos x="3204" y="2466"/>
                </a:cxn>
                <a:cxn ang="0">
                  <a:pos x="3224" y="2242"/>
                </a:cxn>
                <a:cxn ang="0">
                  <a:pos x="3346" y="2005"/>
                </a:cxn>
                <a:cxn ang="0">
                  <a:pos x="3433" y="1891"/>
                </a:cxn>
                <a:cxn ang="0">
                  <a:pos x="3548" y="2005"/>
                </a:cxn>
                <a:cxn ang="0">
                  <a:pos x="3961" y="1379"/>
                </a:cxn>
                <a:cxn ang="0">
                  <a:pos x="3764" y="1332"/>
                </a:cxn>
                <a:cxn ang="0">
                  <a:pos x="3799" y="1029"/>
                </a:cxn>
                <a:cxn ang="0">
                  <a:pos x="3811" y="698"/>
                </a:cxn>
                <a:cxn ang="0">
                  <a:pos x="3772" y="473"/>
                </a:cxn>
                <a:cxn ang="0">
                  <a:pos x="3582" y="189"/>
                </a:cxn>
                <a:cxn ang="0">
                  <a:pos x="3461" y="143"/>
                </a:cxn>
                <a:cxn ang="0">
                  <a:pos x="3184" y="0"/>
                </a:cxn>
                <a:cxn ang="0">
                  <a:pos x="2853" y="245"/>
                </a:cxn>
                <a:cxn ang="0">
                  <a:pos x="2751" y="312"/>
                </a:cxn>
                <a:cxn ang="0">
                  <a:pos x="2649" y="386"/>
                </a:cxn>
                <a:cxn ang="0">
                  <a:pos x="2570" y="304"/>
                </a:cxn>
                <a:cxn ang="0">
                  <a:pos x="2487" y="162"/>
                </a:cxn>
                <a:cxn ang="0">
                  <a:pos x="2360" y="31"/>
                </a:cxn>
                <a:cxn ang="0">
                  <a:pos x="2183" y="131"/>
                </a:cxn>
                <a:cxn ang="0">
                  <a:pos x="1899" y="292"/>
                </a:cxn>
                <a:cxn ang="0">
                  <a:pos x="1671" y="398"/>
                </a:cxn>
                <a:cxn ang="0">
                  <a:pos x="1466" y="320"/>
                </a:cxn>
                <a:cxn ang="0">
                  <a:pos x="1245" y="332"/>
                </a:cxn>
                <a:cxn ang="0">
                  <a:pos x="1076" y="823"/>
                </a:cxn>
                <a:cxn ang="0">
                  <a:pos x="772" y="934"/>
                </a:cxn>
                <a:cxn ang="0">
                  <a:pos x="425" y="698"/>
                </a:cxn>
                <a:cxn ang="0">
                  <a:pos x="362" y="678"/>
                </a:cxn>
              </a:cxnLst>
              <a:rect l="0" t="0" r="r" b="b"/>
              <a:pathLst>
                <a:path w="3961" h="4396">
                  <a:moveTo>
                    <a:pt x="362" y="678"/>
                  </a:moveTo>
                  <a:lnTo>
                    <a:pt x="82" y="927"/>
                  </a:lnTo>
                  <a:lnTo>
                    <a:pt x="94" y="973"/>
                  </a:lnTo>
                  <a:lnTo>
                    <a:pt x="0" y="1088"/>
                  </a:lnTo>
                  <a:lnTo>
                    <a:pt x="28" y="1170"/>
                  </a:lnTo>
                  <a:lnTo>
                    <a:pt x="177" y="1265"/>
                  </a:lnTo>
                  <a:lnTo>
                    <a:pt x="130" y="1332"/>
                  </a:lnTo>
                  <a:lnTo>
                    <a:pt x="157" y="1399"/>
                  </a:lnTo>
                  <a:lnTo>
                    <a:pt x="82" y="1493"/>
                  </a:lnTo>
                  <a:lnTo>
                    <a:pt x="75" y="1616"/>
                  </a:lnTo>
                  <a:lnTo>
                    <a:pt x="169" y="1675"/>
                  </a:lnTo>
                  <a:lnTo>
                    <a:pt x="123" y="1804"/>
                  </a:lnTo>
                  <a:lnTo>
                    <a:pt x="169" y="1872"/>
                  </a:lnTo>
                  <a:lnTo>
                    <a:pt x="150" y="1899"/>
                  </a:lnTo>
                  <a:lnTo>
                    <a:pt x="177" y="2041"/>
                  </a:lnTo>
                  <a:lnTo>
                    <a:pt x="102" y="2116"/>
                  </a:lnTo>
                  <a:lnTo>
                    <a:pt x="75" y="2242"/>
                  </a:lnTo>
                  <a:lnTo>
                    <a:pt x="205" y="2466"/>
                  </a:lnTo>
                  <a:lnTo>
                    <a:pt x="225" y="2636"/>
                  </a:lnTo>
                  <a:lnTo>
                    <a:pt x="169" y="2762"/>
                  </a:lnTo>
                  <a:lnTo>
                    <a:pt x="157" y="2884"/>
                  </a:lnTo>
                  <a:lnTo>
                    <a:pt x="378" y="2809"/>
                  </a:lnTo>
                  <a:lnTo>
                    <a:pt x="879" y="2494"/>
                  </a:lnTo>
                  <a:lnTo>
                    <a:pt x="1095" y="2505"/>
                  </a:lnTo>
                  <a:lnTo>
                    <a:pt x="1136" y="2541"/>
                  </a:lnTo>
                  <a:lnTo>
                    <a:pt x="1104" y="2628"/>
                  </a:lnTo>
                  <a:lnTo>
                    <a:pt x="1210" y="2714"/>
                  </a:lnTo>
                  <a:lnTo>
                    <a:pt x="1324" y="2714"/>
                  </a:lnTo>
                  <a:lnTo>
                    <a:pt x="1387" y="2675"/>
                  </a:lnTo>
                  <a:lnTo>
                    <a:pt x="1541" y="2723"/>
                  </a:lnTo>
                  <a:lnTo>
                    <a:pt x="1813" y="2920"/>
                  </a:lnTo>
                  <a:lnTo>
                    <a:pt x="2022" y="2939"/>
                  </a:lnTo>
                  <a:lnTo>
                    <a:pt x="2164" y="3081"/>
                  </a:lnTo>
                  <a:lnTo>
                    <a:pt x="2203" y="3175"/>
                  </a:lnTo>
                  <a:lnTo>
                    <a:pt x="2251" y="3214"/>
                  </a:lnTo>
                  <a:lnTo>
                    <a:pt x="2506" y="3234"/>
                  </a:lnTo>
                  <a:lnTo>
                    <a:pt x="2744" y="3357"/>
                  </a:lnTo>
                  <a:lnTo>
                    <a:pt x="2807" y="3423"/>
                  </a:lnTo>
                  <a:lnTo>
                    <a:pt x="2771" y="3518"/>
                  </a:lnTo>
                  <a:lnTo>
                    <a:pt x="2657" y="3612"/>
                  </a:lnTo>
                  <a:lnTo>
                    <a:pt x="2601" y="3723"/>
                  </a:lnTo>
                  <a:lnTo>
                    <a:pt x="2494" y="3790"/>
                  </a:lnTo>
                  <a:lnTo>
                    <a:pt x="2460" y="3904"/>
                  </a:lnTo>
                  <a:lnTo>
                    <a:pt x="2460" y="3979"/>
                  </a:lnTo>
                  <a:lnTo>
                    <a:pt x="2581" y="4121"/>
                  </a:lnTo>
                  <a:lnTo>
                    <a:pt x="2570" y="4215"/>
                  </a:lnTo>
                  <a:lnTo>
                    <a:pt x="2807" y="4396"/>
                  </a:lnTo>
                  <a:lnTo>
                    <a:pt x="3035" y="4188"/>
                  </a:lnTo>
                  <a:lnTo>
                    <a:pt x="3026" y="3932"/>
                  </a:lnTo>
                  <a:lnTo>
                    <a:pt x="3216" y="3384"/>
                  </a:lnTo>
                  <a:lnTo>
                    <a:pt x="3184" y="3262"/>
                  </a:lnTo>
                  <a:lnTo>
                    <a:pt x="3177" y="2789"/>
                  </a:lnTo>
                  <a:lnTo>
                    <a:pt x="3232" y="2588"/>
                  </a:lnTo>
                  <a:lnTo>
                    <a:pt x="3204" y="2466"/>
                  </a:lnTo>
                  <a:lnTo>
                    <a:pt x="3252" y="2337"/>
                  </a:lnTo>
                  <a:lnTo>
                    <a:pt x="3224" y="2242"/>
                  </a:lnTo>
                  <a:lnTo>
                    <a:pt x="3339" y="2100"/>
                  </a:lnTo>
                  <a:lnTo>
                    <a:pt x="3346" y="2005"/>
                  </a:lnTo>
                  <a:lnTo>
                    <a:pt x="3405" y="1879"/>
                  </a:lnTo>
                  <a:lnTo>
                    <a:pt x="3433" y="1891"/>
                  </a:lnTo>
                  <a:lnTo>
                    <a:pt x="3480" y="2013"/>
                  </a:lnTo>
                  <a:lnTo>
                    <a:pt x="3548" y="2005"/>
                  </a:lnTo>
                  <a:lnTo>
                    <a:pt x="3847" y="1643"/>
                  </a:lnTo>
                  <a:lnTo>
                    <a:pt x="3961" y="1379"/>
                  </a:lnTo>
                  <a:lnTo>
                    <a:pt x="3847" y="1399"/>
                  </a:lnTo>
                  <a:lnTo>
                    <a:pt x="3764" y="1332"/>
                  </a:lnTo>
                  <a:lnTo>
                    <a:pt x="3650" y="1048"/>
                  </a:lnTo>
                  <a:lnTo>
                    <a:pt x="3799" y="1029"/>
                  </a:lnTo>
                  <a:lnTo>
                    <a:pt x="3859" y="777"/>
                  </a:lnTo>
                  <a:lnTo>
                    <a:pt x="3811" y="698"/>
                  </a:lnTo>
                  <a:lnTo>
                    <a:pt x="3764" y="548"/>
                  </a:lnTo>
                  <a:lnTo>
                    <a:pt x="3772" y="473"/>
                  </a:lnTo>
                  <a:lnTo>
                    <a:pt x="3704" y="359"/>
                  </a:lnTo>
                  <a:lnTo>
                    <a:pt x="3582" y="189"/>
                  </a:lnTo>
                  <a:lnTo>
                    <a:pt x="3516" y="218"/>
                  </a:lnTo>
                  <a:lnTo>
                    <a:pt x="3461" y="143"/>
                  </a:lnTo>
                  <a:lnTo>
                    <a:pt x="3298" y="95"/>
                  </a:lnTo>
                  <a:lnTo>
                    <a:pt x="3184" y="0"/>
                  </a:lnTo>
                  <a:lnTo>
                    <a:pt x="2932" y="198"/>
                  </a:lnTo>
                  <a:lnTo>
                    <a:pt x="2853" y="245"/>
                  </a:lnTo>
                  <a:lnTo>
                    <a:pt x="2818" y="237"/>
                  </a:lnTo>
                  <a:lnTo>
                    <a:pt x="2751" y="312"/>
                  </a:lnTo>
                  <a:lnTo>
                    <a:pt x="2723" y="367"/>
                  </a:lnTo>
                  <a:lnTo>
                    <a:pt x="2649" y="386"/>
                  </a:lnTo>
                  <a:lnTo>
                    <a:pt x="2581" y="379"/>
                  </a:lnTo>
                  <a:lnTo>
                    <a:pt x="2570" y="304"/>
                  </a:lnTo>
                  <a:lnTo>
                    <a:pt x="2494" y="218"/>
                  </a:lnTo>
                  <a:lnTo>
                    <a:pt x="2487" y="162"/>
                  </a:lnTo>
                  <a:lnTo>
                    <a:pt x="2460" y="83"/>
                  </a:lnTo>
                  <a:lnTo>
                    <a:pt x="2360" y="31"/>
                  </a:lnTo>
                  <a:lnTo>
                    <a:pt x="2286" y="95"/>
                  </a:lnTo>
                  <a:lnTo>
                    <a:pt x="2183" y="131"/>
                  </a:lnTo>
                  <a:lnTo>
                    <a:pt x="2081" y="272"/>
                  </a:lnTo>
                  <a:lnTo>
                    <a:pt x="1899" y="292"/>
                  </a:lnTo>
                  <a:lnTo>
                    <a:pt x="1785" y="379"/>
                  </a:lnTo>
                  <a:lnTo>
                    <a:pt x="1671" y="398"/>
                  </a:lnTo>
                  <a:lnTo>
                    <a:pt x="1561" y="320"/>
                  </a:lnTo>
                  <a:lnTo>
                    <a:pt x="1466" y="320"/>
                  </a:lnTo>
                  <a:lnTo>
                    <a:pt x="1340" y="284"/>
                  </a:lnTo>
                  <a:lnTo>
                    <a:pt x="1245" y="332"/>
                  </a:lnTo>
                  <a:lnTo>
                    <a:pt x="1245" y="595"/>
                  </a:lnTo>
                  <a:lnTo>
                    <a:pt x="1076" y="823"/>
                  </a:lnTo>
                  <a:lnTo>
                    <a:pt x="898" y="852"/>
                  </a:lnTo>
                  <a:lnTo>
                    <a:pt x="772" y="934"/>
                  </a:lnTo>
                  <a:lnTo>
                    <a:pt x="643" y="946"/>
                  </a:lnTo>
                  <a:lnTo>
                    <a:pt x="425" y="698"/>
                  </a:lnTo>
                  <a:lnTo>
                    <a:pt x="362" y="678"/>
                  </a:lnTo>
                  <a:lnTo>
                    <a:pt x="362" y="678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06" name="Freeform 15">
              <a:extLst>
                <a:ext uri="{FF2B5EF4-FFF2-40B4-BE49-F238E27FC236}">
                  <a16:creationId xmlns:a16="http://schemas.microsoft.com/office/drawing/2014/main" id="{421BFADA-E77C-4608-BE25-E4FA9CDE56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9175" y="2378990"/>
              <a:ext cx="244132" cy="233965"/>
            </a:xfrm>
            <a:custGeom>
              <a:avLst/>
              <a:gdLst/>
              <a:ahLst/>
              <a:cxnLst>
                <a:cxn ang="0">
                  <a:pos x="311" y="906"/>
                </a:cxn>
                <a:cxn ang="0">
                  <a:pos x="452" y="729"/>
                </a:cxn>
                <a:cxn ang="0">
                  <a:pos x="717" y="548"/>
                </a:cxn>
                <a:cxn ang="0">
                  <a:pos x="791" y="477"/>
                </a:cxn>
                <a:cxn ang="0">
                  <a:pos x="791" y="475"/>
                </a:cxn>
                <a:cxn ang="0">
                  <a:pos x="607" y="292"/>
                </a:cxn>
                <a:cxn ang="0">
                  <a:pos x="122" y="0"/>
                </a:cxn>
                <a:cxn ang="0">
                  <a:pos x="114" y="75"/>
                </a:cxn>
                <a:cxn ang="0">
                  <a:pos x="161" y="225"/>
                </a:cxn>
                <a:cxn ang="0">
                  <a:pos x="209" y="304"/>
                </a:cxn>
                <a:cxn ang="0">
                  <a:pos x="149" y="556"/>
                </a:cxn>
                <a:cxn ang="0">
                  <a:pos x="0" y="575"/>
                </a:cxn>
                <a:cxn ang="0">
                  <a:pos x="114" y="859"/>
                </a:cxn>
                <a:cxn ang="0">
                  <a:pos x="197" y="926"/>
                </a:cxn>
                <a:cxn ang="0">
                  <a:pos x="311" y="906"/>
                </a:cxn>
                <a:cxn ang="0">
                  <a:pos x="311" y="906"/>
                </a:cxn>
              </a:cxnLst>
              <a:rect l="0" t="0" r="r" b="b"/>
              <a:pathLst>
                <a:path w="791" h="926">
                  <a:moveTo>
                    <a:pt x="311" y="906"/>
                  </a:moveTo>
                  <a:lnTo>
                    <a:pt x="452" y="729"/>
                  </a:lnTo>
                  <a:lnTo>
                    <a:pt x="717" y="548"/>
                  </a:lnTo>
                  <a:lnTo>
                    <a:pt x="791" y="477"/>
                  </a:lnTo>
                  <a:lnTo>
                    <a:pt x="791" y="475"/>
                  </a:lnTo>
                  <a:lnTo>
                    <a:pt x="607" y="292"/>
                  </a:lnTo>
                  <a:lnTo>
                    <a:pt x="122" y="0"/>
                  </a:lnTo>
                  <a:lnTo>
                    <a:pt x="114" y="75"/>
                  </a:lnTo>
                  <a:lnTo>
                    <a:pt x="161" y="225"/>
                  </a:lnTo>
                  <a:lnTo>
                    <a:pt x="209" y="304"/>
                  </a:lnTo>
                  <a:lnTo>
                    <a:pt x="149" y="556"/>
                  </a:lnTo>
                  <a:lnTo>
                    <a:pt x="0" y="575"/>
                  </a:lnTo>
                  <a:lnTo>
                    <a:pt x="114" y="859"/>
                  </a:lnTo>
                  <a:lnTo>
                    <a:pt x="197" y="926"/>
                  </a:lnTo>
                  <a:lnTo>
                    <a:pt x="311" y="906"/>
                  </a:lnTo>
                  <a:lnTo>
                    <a:pt x="311" y="906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07" name="Freeform 16">
              <a:extLst>
                <a:ext uri="{FF2B5EF4-FFF2-40B4-BE49-F238E27FC236}">
                  <a16:creationId xmlns:a16="http://schemas.microsoft.com/office/drawing/2014/main" id="{FBC92978-8E23-4997-9CC4-FE8D356D81BF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1750" y="2121860"/>
              <a:ext cx="877173" cy="243230"/>
            </a:xfrm>
            <a:custGeom>
              <a:avLst/>
              <a:gdLst/>
              <a:ahLst/>
              <a:cxnLst>
                <a:cxn ang="0">
                  <a:pos x="1147" y="159"/>
                </a:cxn>
                <a:cxn ang="0">
                  <a:pos x="998" y="254"/>
                </a:cxn>
                <a:cxn ang="0">
                  <a:pos x="789" y="48"/>
                </a:cxn>
                <a:cxn ang="0">
                  <a:pos x="307" y="0"/>
                </a:cxn>
                <a:cxn ang="0">
                  <a:pos x="277" y="84"/>
                </a:cxn>
                <a:cxn ang="0">
                  <a:pos x="324" y="218"/>
                </a:cxn>
                <a:cxn ang="0">
                  <a:pos x="229" y="427"/>
                </a:cxn>
                <a:cxn ang="0">
                  <a:pos x="134" y="462"/>
                </a:cxn>
                <a:cxn ang="0">
                  <a:pos x="0" y="579"/>
                </a:cxn>
                <a:cxn ang="0">
                  <a:pos x="100" y="631"/>
                </a:cxn>
                <a:cxn ang="0">
                  <a:pos x="127" y="710"/>
                </a:cxn>
                <a:cxn ang="0">
                  <a:pos x="134" y="766"/>
                </a:cxn>
                <a:cxn ang="0">
                  <a:pos x="210" y="852"/>
                </a:cxn>
                <a:cxn ang="0">
                  <a:pos x="221" y="927"/>
                </a:cxn>
                <a:cxn ang="0">
                  <a:pos x="289" y="934"/>
                </a:cxn>
                <a:cxn ang="0">
                  <a:pos x="363" y="915"/>
                </a:cxn>
                <a:cxn ang="0">
                  <a:pos x="391" y="860"/>
                </a:cxn>
                <a:cxn ang="0">
                  <a:pos x="458" y="785"/>
                </a:cxn>
                <a:cxn ang="0">
                  <a:pos x="493" y="793"/>
                </a:cxn>
                <a:cxn ang="0">
                  <a:pos x="572" y="746"/>
                </a:cxn>
                <a:cxn ang="0">
                  <a:pos x="824" y="548"/>
                </a:cxn>
                <a:cxn ang="0">
                  <a:pos x="938" y="643"/>
                </a:cxn>
                <a:cxn ang="0">
                  <a:pos x="1101" y="691"/>
                </a:cxn>
                <a:cxn ang="0">
                  <a:pos x="1156" y="766"/>
                </a:cxn>
                <a:cxn ang="0">
                  <a:pos x="1222" y="737"/>
                </a:cxn>
                <a:cxn ang="0">
                  <a:pos x="1344" y="907"/>
                </a:cxn>
                <a:cxn ang="0">
                  <a:pos x="1534" y="766"/>
                </a:cxn>
                <a:cxn ang="0">
                  <a:pos x="1754" y="907"/>
                </a:cxn>
                <a:cxn ang="0">
                  <a:pos x="1830" y="963"/>
                </a:cxn>
                <a:cxn ang="0">
                  <a:pos x="2141" y="934"/>
                </a:cxn>
                <a:cxn ang="0">
                  <a:pos x="2283" y="820"/>
                </a:cxn>
                <a:cxn ang="0">
                  <a:pos x="2641" y="840"/>
                </a:cxn>
                <a:cxn ang="0">
                  <a:pos x="2796" y="509"/>
                </a:cxn>
                <a:cxn ang="0">
                  <a:pos x="2803" y="285"/>
                </a:cxn>
                <a:cxn ang="0">
                  <a:pos x="2842" y="76"/>
                </a:cxn>
                <a:cxn ang="0">
                  <a:pos x="2622" y="143"/>
                </a:cxn>
                <a:cxn ang="0">
                  <a:pos x="2500" y="254"/>
                </a:cxn>
                <a:cxn ang="0">
                  <a:pos x="2086" y="360"/>
                </a:cxn>
                <a:cxn ang="0">
                  <a:pos x="1971" y="482"/>
                </a:cxn>
                <a:cxn ang="0">
                  <a:pos x="1865" y="482"/>
                </a:cxn>
                <a:cxn ang="0">
                  <a:pos x="1849" y="427"/>
                </a:cxn>
                <a:cxn ang="0">
                  <a:pos x="1762" y="320"/>
                </a:cxn>
                <a:cxn ang="0">
                  <a:pos x="1924" y="96"/>
                </a:cxn>
                <a:cxn ang="0">
                  <a:pos x="1885" y="57"/>
                </a:cxn>
                <a:cxn ang="0">
                  <a:pos x="1771" y="17"/>
                </a:cxn>
                <a:cxn ang="0">
                  <a:pos x="1518" y="198"/>
                </a:cxn>
                <a:cxn ang="0">
                  <a:pos x="1356" y="266"/>
                </a:cxn>
                <a:cxn ang="0">
                  <a:pos x="1290" y="206"/>
                </a:cxn>
                <a:cxn ang="0">
                  <a:pos x="1203" y="218"/>
                </a:cxn>
                <a:cxn ang="0">
                  <a:pos x="1147" y="159"/>
                </a:cxn>
                <a:cxn ang="0">
                  <a:pos x="1147" y="159"/>
                </a:cxn>
              </a:cxnLst>
              <a:rect l="0" t="0" r="r" b="b"/>
              <a:pathLst>
                <a:path w="2842" h="963">
                  <a:moveTo>
                    <a:pt x="1147" y="159"/>
                  </a:moveTo>
                  <a:lnTo>
                    <a:pt x="998" y="254"/>
                  </a:lnTo>
                  <a:lnTo>
                    <a:pt x="789" y="48"/>
                  </a:lnTo>
                  <a:lnTo>
                    <a:pt x="307" y="0"/>
                  </a:lnTo>
                  <a:lnTo>
                    <a:pt x="277" y="84"/>
                  </a:lnTo>
                  <a:lnTo>
                    <a:pt x="324" y="218"/>
                  </a:lnTo>
                  <a:lnTo>
                    <a:pt x="229" y="427"/>
                  </a:lnTo>
                  <a:lnTo>
                    <a:pt x="134" y="462"/>
                  </a:lnTo>
                  <a:lnTo>
                    <a:pt x="0" y="579"/>
                  </a:lnTo>
                  <a:lnTo>
                    <a:pt x="100" y="631"/>
                  </a:lnTo>
                  <a:lnTo>
                    <a:pt x="127" y="710"/>
                  </a:lnTo>
                  <a:lnTo>
                    <a:pt x="134" y="766"/>
                  </a:lnTo>
                  <a:lnTo>
                    <a:pt x="210" y="852"/>
                  </a:lnTo>
                  <a:lnTo>
                    <a:pt x="221" y="927"/>
                  </a:lnTo>
                  <a:lnTo>
                    <a:pt x="289" y="934"/>
                  </a:lnTo>
                  <a:lnTo>
                    <a:pt x="363" y="915"/>
                  </a:lnTo>
                  <a:lnTo>
                    <a:pt x="391" y="860"/>
                  </a:lnTo>
                  <a:lnTo>
                    <a:pt x="458" y="785"/>
                  </a:lnTo>
                  <a:lnTo>
                    <a:pt x="493" y="793"/>
                  </a:lnTo>
                  <a:lnTo>
                    <a:pt x="572" y="746"/>
                  </a:lnTo>
                  <a:lnTo>
                    <a:pt x="824" y="548"/>
                  </a:lnTo>
                  <a:lnTo>
                    <a:pt x="938" y="643"/>
                  </a:lnTo>
                  <a:lnTo>
                    <a:pt x="1101" y="691"/>
                  </a:lnTo>
                  <a:lnTo>
                    <a:pt x="1156" y="766"/>
                  </a:lnTo>
                  <a:lnTo>
                    <a:pt x="1222" y="737"/>
                  </a:lnTo>
                  <a:lnTo>
                    <a:pt x="1344" y="907"/>
                  </a:lnTo>
                  <a:lnTo>
                    <a:pt x="1534" y="766"/>
                  </a:lnTo>
                  <a:lnTo>
                    <a:pt x="1754" y="907"/>
                  </a:lnTo>
                  <a:lnTo>
                    <a:pt x="1830" y="963"/>
                  </a:lnTo>
                  <a:lnTo>
                    <a:pt x="2141" y="934"/>
                  </a:lnTo>
                  <a:lnTo>
                    <a:pt x="2283" y="820"/>
                  </a:lnTo>
                  <a:lnTo>
                    <a:pt x="2641" y="840"/>
                  </a:lnTo>
                  <a:lnTo>
                    <a:pt x="2796" y="509"/>
                  </a:lnTo>
                  <a:lnTo>
                    <a:pt x="2803" y="285"/>
                  </a:lnTo>
                  <a:lnTo>
                    <a:pt x="2842" y="76"/>
                  </a:lnTo>
                  <a:lnTo>
                    <a:pt x="2622" y="143"/>
                  </a:lnTo>
                  <a:lnTo>
                    <a:pt x="2500" y="254"/>
                  </a:lnTo>
                  <a:lnTo>
                    <a:pt x="2086" y="360"/>
                  </a:lnTo>
                  <a:lnTo>
                    <a:pt x="1971" y="482"/>
                  </a:lnTo>
                  <a:lnTo>
                    <a:pt x="1865" y="482"/>
                  </a:lnTo>
                  <a:lnTo>
                    <a:pt x="1849" y="427"/>
                  </a:lnTo>
                  <a:lnTo>
                    <a:pt x="1762" y="320"/>
                  </a:lnTo>
                  <a:lnTo>
                    <a:pt x="1924" y="96"/>
                  </a:lnTo>
                  <a:lnTo>
                    <a:pt x="1885" y="57"/>
                  </a:lnTo>
                  <a:lnTo>
                    <a:pt x="1771" y="17"/>
                  </a:lnTo>
                  <a:lnTo>
                    <a:pt x="1518" y="198"/>
                  </a:lnTo>
                  <a:lnTo>
                    <a:pt x="1356" y="266"/>
                  </a:lnTo>
                  <a:lnTo>
                    <a:pt x="1290" y="206"/>
                  </a:lnTo>
                  <a:lnTo>
                    <a:pt x="1203" y="218"/>
                  </a:lnTo>
                  <a:lnTo>
                    <a:pt x="1147" y="159"/>
                  </a:lnTo>
                  <a:lnTo>
                    <a:pt x="1147" y="159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08" name="Freeform 17">
              <a:extLst>
                <a:ext uri="{FF2B5EF4-FFF2-40B4-BE49-F238E27FC236}">
                  <a16:creationId xmlns:a16="http://schemas.microsoft.com/office/drawing/2014/main" id="{2EFB6392-98CD-4231-B52E-2BCC1D293F7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4979" y="1850832"/>
              <a:ext cx="468392" cy="247865"/>
            </a:xfrm>
            <a:custGeom>
              <a:avLst/>
              <a:gdLst/>
              <a:ahLst/>
              <a:cxnLst>
                <a:cxn ang="0">
                  <a:pos x="0" y="701"/>
                </a:cxn>
                <a:cxn ang="0">
                  <a:pos x="49" y="557"/>
                </a:cxn>
                <a:cxn ang="0">
                  <a:pos x="123" y="557"/>
                </a:cxn>
                <a:cxn ang="0">
                  <a:pos x="332" y="217"/>
                </a:cxn>
                <a:cxn ang="0">
                  <a:pos x="538" y="1"/>
                </a:cxn>
                <a:cxn ang="0">
                  <a:pos x="537" y="0"/>
                </a:cxn>
                <a:cxn ang="0">
                  <a:pos x="738" y="123"/>
                </a:cxn>
                <a:cxn ang="0">
                  <a:pos x="975" y="205"/>
                </a:cxn>
                <a:cxn ang="0">
                  <a:pos x="1306" y="217"/>
                </a:cxn>
                <a:cxn ang="0">
                  <a:pos x="1428" y="340"/>
                </a:cxn>
                <a:cxn ang="0">
                  <a:pos x="1534" y="826"/>
                </a:cxn>
                <a:cxn ang="0">
                  <a:pos x="1325" y="812"/>
                </a:cxn>
                <a:cxn ang="0">
                  <a:pos x="1117" y="812"/>
                </a:cxn>
                <a:cxn ang="0">
                  <a:pos x="963" y="718"/>
                </a:cxn>
                <a:cxn ang="0">
                  <a:pos x="900" y="765"/>
                </a:cxn>
                <a:cxn ang="0">
                  <a:pos x="853" y="962"/>
                </a:cxn>
                <a:cxn ang="0">
                  <a:pos x="793" y="982"/>
                </a:cxn>
                <a:cxn ang="0">
                  <a:pos x="738" y="907"/>
                </a:cxn>
                <a:cxn ang="0">
                  <a:pos x="585" y="899"/>
                </a:cxn>
                <a:cxn ang="0">
                  <a:pos x="490" y="851"/>
                </a:cxn>
                <a:cxn ang="0">
                  <a:pos x="490" y="785"/>
                </a:cxn>
                <a:cxn ang="0">
                  <a:pos x="585" y="623"/>
                </a:cxn>
                <a:cxn ang="0">
                  <a:pos x="585" y="569"/>
                </a:cxn>
                <a:cxn ang="0">
                  <a:pos x="557" y="557"/>
                </a:cxn>
                <a:cxn ang="0">
                  <a:pos x="332" y="632"/>
                </a:cxn>
                <a:cxn ang="0">
                  <a:pos x="206" y="746"/>
                </a:cxn>
                <a:cxn ang="0">
                  <a:pos x="0" y="701"/>
                </a:cxn>
                <a:cxn ang="0">
                  <a:pos x="0" y="701"/>
                </a:cxn>
              </a:cxnLst>
              <a:rect l="0" t="0" r="r" b="b"/>
              <a:pathLst>
                <a:path w="1534" h="982">
                  <a:moveTo>
                    <a:pt x="0" y="701"/>
                  </a:moveTo>
                  <a:lnTo>
                    <a:pt x="49" y="557"/>
                  </a:lnTo>
                  <a:lnTo>
                    <a:pt x="123" y="557"/>
                  </a:lnTo>
                  <a:lnTo>
                    <a:pt x="332" y="217"/>
                  </a:lnTo>
                  <a:lnTo>
                    <a:pt x="538" y="1"/>
                  </a:lnTo>
                  <a:lnTo>
                    <a:pt x="537" y="0"/>
                  </a:lnTo>
                  <a:lnTo>
                    <a:pt x="738" y="123"/>
                  </a:lnTo>
                  <a:lnTo>
                    <a:pt x="975" y="205"/>
                  </a:lnTo>
                  <a:lnTo>
                    <a:pt x="1306" y="217"/>
                  </a:lnTo>
                  <a:lnTo>
                    <a:pt x="1428" y="340"/>
                  </a:lnTo>
                  <a:lnTo>
                    <a:pt x="1534" y="826"/>
                  </a:lnTo>
                  <a:lnTo>
                    <a:pt x="1325" y="812"/>
                  </a:lnTo>
                  <a:lnTo>
                    <a:pt x="1117" y="812"/>
                  </a:lnTo>
                  <a:lnTo>
                    <a:pt x="963" y="718"/>
                  </a:lnTo>
                  <a:lnTo>
                    <a:pt x="900" y="765"/>
                  </a:lnTo>
                  <a:lnTo>
                    <a:pt x="853" y="962"/>
                  </a:lnTo>
                  <a:lnTo>
                    <a:pt x="793" y="982"/>
                  </a:lnTo>
                  <a:lnTo>
                    <a:pt x="738" y="907"/>
                  </a:lnTo>
                  <a:lnTo>
                    <a:pt x="585" y="899"/>
                  </a:lnTo>
                  <a:lnTo>
                    <a:pt x="490" y="851"/>
                  </a:lnTo>
                  <a:lnTo>
                    <a:pt x="490" y="785"/>
                  </a:lnTo>
                  <a:lnTo>
                    <a:pt x="585" y="623"/>
                  </a:lnTo>
                  <a:lnTo>
                    <a:pt x="585" y="569"/>
                  </a:lnTo>
                  <a:lnTo>
                    <a:pt x="557" y="557"/>
                  </a:lnTo>
                  <a:lnTo>
                    <a:pt x="332" y="632"/>
                  </a:lnTo>
                  <a:lnTo>
                    <a:pt x="206" y="746"/>
                  </a:lnTo>
                  <a:lnTo>
                    <a:pt x="0" y="701"/>
                  </a:lnTo>
                  <a:lnTo>
                    <a:pt x="0" y="701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09" name="Freeform 18">
              <a:extLst>
                <a:ext uri="{FF2B5EF4-FFF2-40B4-BE49-F238E27FC236}">
                  <a16:creationId xmlns:a16="http://schemas.microsoft.com/office/drawing/2014/main" id="{BDC04C51-A287-4123-883E-DF6437283C0B}"/>
                </a:ext>
              </a:extLst>
            </p:cNvPr>
            <p:cNvSpPr>
              <a:spLocks/>
            </p:cNvSpPr>
            <p:nvPr/>
          </p:nvSpPr>
          <p:spPr bwMode="gray">
            <a:xfrm>
              <a:off x="4800195" y="1614551"/>
              <a:ext cx="760784" cy="882579"/>
            </a:xfrm>
            <a:custGeom>
              <a:avLst/>
              <a:gdLst/>
              <a:ahLst/>
              <a:cxnLst>
                <a:cxn ang="0">
                  <a:pos x="90" y="3257"/>
                </a:cxn>
                <a:cxn ang="0">
                  <a:pos x="153" y="3277"/>
                </a:cxn>
                <a:cxn ang="0">
                  <a:pos x="371" y="3525"/>
                </a:cxn>
                <a:cxn ang="0">
                  <a:pos x="500" y="3513"/>
                </a:cxn>
                <a:cxn ang="0">
                  <a:pos x="626" y="3431"/>
                </a:cxn>
                <a:cxn ang="0">
                  <a:pos x="804" y="3402"/>
                </a:cxn>
                <a:cxn ang="0">
                  <a:pos x="973" y="3174"/>
                </a:cxn>
                <a:cxn ang="0">
                  <a:pos x="973" y="2911"/>
                </a:cxn>
                <a:cxn ang="0">
                  <a:pos x="1068" y="2863"/>
                </a:cxn>
                <a:cxn ang="0">
                  <a:pos x="1194" y="2899"/>
                </a:cxn>
                <a:cxn ang="0">
                  <a:pos x="1289" y="2899"/>
                </a:cxn>
                <a:cxn ang="0">
                  <a:pos x="1399" y="2977"/>
                </a:cxn>
                <a:cxn ang="0">
                  <a:pos x="1513" y="2958"/>
                </a:cxn>
                <a:cxn ang="0">
                  <a:pos x="1627" y="2871"/>
                </a:cxn>
                <a:cxn ang="0">
                  <a:pos x="1809" y="2851"/>
                </a:cxn>
                <a:cxn ang="0">
                  <a:pos x="1911" y="2710"/>
                </a:cxn>
                <a:cxn ang="0">
                  <a:pos x="2014" y="2674"/>
                </a:cxn>
                <a:cxn ang="0">
                  <a:pos x="2088" y="2610"/>
                </a:cxn>
                <a:cxn ang="0">
                  <a:pos x="2222" y="2493"/>
                </a:cxn>
                <a:cxn ang="0">
                  <a:pos x="2317" y="2458"/>
                </a:cxn>
                <a:cxn ang="0">
                  <a:pos x="2412" y="2249"/>
                </a:cxn>
                <a:cxn ang="0">
                  <a:pos x="2365" y="2115"/>
                </a:cxn>
                <a:cxn ang="0">
                  <a:pos x="2395" y="2031"/>
                </a:cxn>
                <a:cxn ang="0">
                  <a:pos x="2479" y="1804"/>
                </a:cxn>
                <a:cxn ang="0">
                  <a:pos x="2329" y="1595"/>
                </a:cxn>
                <a:cxn ang="0">
                  <a:pos x="2222" y="1115"/>
                </a:cxn>
                <a:cxn ang="0">
                  <a:pos x="2188" y="850"/>
                </a:cxn>
                <a:cxn ang="0">
                  <a:pos x="2168" y="756"/>
                </a:cxn>
                <a:cxn ang="0">
                  <a:pos x="2222" y="603"/>
                </a:cxn>
                <a:cxn ang="0">
                  <a:pos x="2108" y="283"/>
                </a:cxn>
                <a:cxn ang="0">
                  <a:pos x="2140" y="236"/>
                </a:cxn>
                <a:cxn ang="0">
                  <a:pos x="2101" y="177"/>
                </a:cxn>
                <a:cxn ang="0">
                  <a:pos x="2140" y="55"/>
                </a:cxn>
                <a:cxn ang="0">
                  <a:pos x="2033" y="27"/>
                </a:cxn>
                <a:cxn ang="0">
                  <a:pos x="1892" y="0"/>
                </a:cxn>
                <a:cxn ang="0">
                  <a:pos x="1824" y="130"/>
                </a:cxn>
                <a:cxn ang="0">
                  <a:pos x="1656" y="244"/>
                </a:cxn>
                <a:cxn ang="0">
                  <a:pos x="1573" y="251"/>
                </a:cxn>
                <a:cxn ang="0">
                  <a:pos x="1430" y="488"/>
                </a:cxn>
                <a:cxn ang="0">
                  <a:pos x="1372" y="622"/>
                </a:cxn>
                <a:cxn ang="0">
                  <a:pos x="1447" y="697"/>
                </a:cxn>
                <a:cxn ang="0">
                  <a:pos x="1411" y="819"/>
                </a:cxn>
                <a:cxn ang="0">
                  <a:pos x="1478" y="981"/>
                </a:cxn>
                <a:cxn ang="0">
                  <a:pos x="1459" y="1067"/>
                </a:cxn>
                <a:cxn ang="0">
                  <a:pos x="1324" y="1217"/>
                </a:cxn>
                <a:cxn ang="0">
                  <a:pos x="1336" y="1379"/>
                </a:cxn>
                <a:cxn ang="0">
                  <a:pos x="1418" y="1481"/>
                </a:cxn>
                <a:cxn ang="0">
                  <a:pos x="1384" y="1681"/>
                </a:cxn>
                <a:cxn ang="0">
                  <a:pos x="1175" y="1749"/>
                </a:cxn>
                <a:cxn ang="0">
                  <a:pos x="1032" y="1662"/>
                </a:cxn>
                <a:cxn ang="0">
                  <a:pos x="864" y="1717"/>
                </a:cxn>
                <a:cxn ang="0">
                  <a:pos x="626" y="1918"/>
                </a:cxn>
                <a:cxn ang="0">
                  <a:pos x="276" y="2048"/>
                </a:cxn>
                <a:cxn ang="0">
                  <a:pos x="162" y="2324"/>
                </a:cxn>
                <a:cxn ang="0">
                  <a:pos x="12" y="2683"/>
                </a:cxn>
                <a:cxn ang="0">
                  <a:pos x="67" y="2911"/>
                </a:cxn>
                <a:cxn ang="0">
                  <a:pos x="0" y="3230"/>
                </a:cxn>
                <a:cxn ang="0">
                  <a:pos x="90" y="3257"/>
                </a:cxn>
                <a:cxn ang="0">
                  <a:pos x="90" y="3257"/>
                </a:cxn>
              </a:cxnLst>
              <a:rect l="0" t="0" r="r" b="b"/>
              <a:pathLst>
                <a:path w="2479" h="3525">
                  <a:moveTo>
                    <a:pt x="90" y="3257"/>
                  </a:moveTo>
                  <a:lnTo>
                    <a:pt x="153" y="3277"/>
                  </a:lnTo>
                  <a:lnTo>
                    <a:pt x="371" y="3525"/>
                  </a:lnTo>
                  <a:lnTo>
                    <a:pt x="500" y="3513"/>
                  </a:lnTo>
                  <a:lnTo>
                    <a:pt x="626" y="3431"/>
                  </a:lnTo>
                  <a:lnTo>
                    <a:pt x="804" y="3402"/>
                  </a:lnTo>
                  <a:lnTo>
                    <a:pt x="973" y="3174"/>
                  </a:lnTo>
                  <a:lnTo>
                    <a:pt x="973" y="2911"/>
                  </a:lnTo>
                  <a:lnTo>
                    <a:pt x="1068" y="2863"/>
                  </a:lnTo>
                  <a:lnTo>
                    <a:pt x="1194" y="2899"/>
                  </a:lnTo>
                  <a:lnTo>
                    <a:pt x="1289" y="2899"/>
                  </a:lnTo>
                  <a:lnTo>
                    <a:pt x="1399" y="2977"/>
                  </a:lnTo>
                  <a:lnTo>
                    <a:pt x="1513" y="2958"/>
                  </a:lnTo>
                  <a:lnTo>
                    <a:pt x="1627" y="2871"/>
                  </a:lnTo>
                  <a:lnTo>
                    <a:pt x="1809" y="2851"/>
                  </a:lnTo>
                  <a:lnTo>
                    <a:pt x="1911" y="2710"/>
                  </a:lnTo>
                  <a:lnTo>
                    <a:pt x="2014" y="2674"/>
                  </a:lnTo>
                  <a:lnTo>
                    <a:pt x="2088" y="2610"/>
                  </a:lnTo>
                  <a:lnTo>
                    <a:pt x="2222" y="2493"/>
                  </a:lnTo>
                  <a:lnTo>
                    <a:pt x="2317" y="2458"/>
                  </a:lnTo>
                  <a:lnTo>
                    <a:pt x="2412" y="2249"/>
                  </a:lnTo>
                  <a:lnTo>
                    <a:pt x="2365" y="2115"/>
                  </a:lnTo>
                  <a:lnTo>
                    <a:pt x="2395" y="2031"/>
                  </a:lnTo>
                  <a:lnTo>
                    <a:pt x="2479" y="1804"/>
                  </a:lnTo>
                  <a:lnTo>
                    <a:pt x="2329" y="1595"/>
                  </a:lnTo>
                  <a:lnTo>
                    <a:pt x="2222" y="1115"/>
                  </a:lnTo>
                  <a:lnTo>
                    <a:pt x="2188" y="850"/>
                  </a:lnTo>
                  <a:lnTo>
                    <a:pt x="2168" y="756"/>
                  </a:lnTo>
                  <a:lnTo>
                    <a:pt x="2222" y="603"/>
                  </a:lnTo>
                  <a:lnTo>
                    <a:pt x="2108" y="283"/>
                  </a:lnTo>
                  <a:lnTo>
                    <a:pt x="2140" y="236"/>
                  </a:lnTo>
                  <a:lnTo>
                    <a:pt x="2101" y="177"/>
                  </a:lnTo>
                  <a:lnTo>
                    <a:pt x="2140" y="55"/>
                  </a:lnTo>
                  <a:lnTo>
                    <a:pt x="2033" y="27"/>
                  </a:lnTo>
                  <a:lnTo>
                    <a:pt x="1892" y="0"/>
                  </a:lnTo>
                  <a:lnTo>
                    <a:pt x="1824" y="130"/>
                  </a:lnTo>
                  <a:lnTo>
                    <a:pt x="1656" y="244"/>
                  </a:lnTo>
                  <a:lnTo>
                    <a:pt x="1573" y="251"/>
                  </a:lnTo>
                  <a:lnTo>
                    <a:pt x="1430" y="488"/>
                  </a:lnTo>
                  <a:lnTo>
                    <a:pt x="1372" y="622"/>
                  </a:lnTo>
                  <a:lnTo>
                    <a:pt x="1447" y="697"/>
                  </a:lnTo>
                  <a:lnTo>
                    <a:pt x="1411" y="819"/>
                  </a:lnTo>
                  <a:lnTo>
                    <a:pt x="1478" y="981"/>
                  </a:lnTo>
                  <a:lnTo>
                    <a:pt x="1459" y="1067"/>
                  </a:lnTo>
                  <a:lnTo>
                    <a:pt x="1324" y="1217"/>
                  </a:lnTo>
                  <a:lnTo>
                    <a:pt x="1336" y="1379"/>
                  </a:lnTo>
                  <a:lnTo>
                    <a:pt x="1418" y="1481"/>
                  </a:lnTo>
                  <a:lnTo>
                    <a:pt x="1384" y="1681"/>
                  </a:lnTo>
                  <a:lnTo>
                    <a:pt x="1175" y="1749"/>
                  </a:lnTo>
                  <a:lnTo>
                    <a:pt x="1032" y="1662"/>
                  </a:lnTo>
                  <a:lnTo>
                    <a:pt x="864" y="1717"/>
                  </a:lnTo>
                  <a:lnTo>
                    <a:pt x="626" y="1918"/>
                  </a:lnTo>
                  <a:lnTo>
                    <a:pt x="276" y="2048"/>
                  </a:lnTo>
                  <a:lnTo>
                    <a:pt x="162" y="2324"/>
                  </a:lnTo>
                  <a:lnTo>
                    <a:pt x="12" y="2683"/>
                  </a:lnTo>
                  <a:lnTo>
                    <a:pt x="67" y="2911"/>
                  </a:lnTo>
                  <a:lnTo>
                    <a:pt x="0" y="3230"/>
                  </a:lnTo>
                  <a:lnTo>
                    <a:pt x="90" y="3257"/>
                  </a:lnTo>
                  <a:lnTo>
                    <a:pt x="90" y="3257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10" name="Freeform 19">
              <a:extLst>
                <a:ext uri="{FF2B5EF4-FFF2-40B4-BE49-F238E27FC236}">
                  <a16:creationId xmlns:a16="http://schemas.microsoft.com/office/drawing/2014/main" id="{FE955E34-E4B2-4C81-AD02-ADC6EA978776}"/>
                </a:ext>
              </a:extLst>
            </p:cNvPr>
            <p:cNvSpPr>
              <a:spLocks/>
            </p:cNvSpPr>
            <p:nvPr/>
          </p:nvSpPr>
          <p:spPr bwMode="gray">
            <a:xfrm>
              <a:off x="4473739" y="1408385"/>
              <a:ext cx="908398" cy="1016935"/>
            </a:xfrm>
            <a:custGeom>
              <a:avLst/>
              <a:gdLst/>
              <a:ahLst/>
              <a:cxnLst>
                <a:cxn ang="0">
                  <a:pos x="416" y="1945"/>
                </a:cxn>
                <a:cxn ang="0">
                  <a:pos x="368" y="2559"/>
                </a:cxn>
                <a:cxn ang="0">
                  <a:pos x="396" y="2682"/>
                </a:cxn>
                <a:cxn ang="0">
                  <a:pos x="605" y="3013"/>
                </a:cxn>
                <a:cxn ang="0">
                  <a:pos x="834" y="3025"/>
                </a:cxn>
                <a:cxn ang="0">
                  <a:pos x="691" y="3221"/>
                </a:cxn>
                <a:cxn ang="0">
                  <a:pos x="691" y="3619"/>
                </a:cxn>
                <a:cxn ang="0">
                  <a:pos x="766" y="3768"/>
                </a:cxn>
                <a:cxn ang="0">
                  <a:pos x="1058" y="4033"/>
                </a:cxn>
                <a:cxn ang="0">
                  <a:pos x="1070" y="3486"/>
                </a:cxn>
                <a:cxn ang="0">
                  <a:pos x="1334" y="2851"/>
                </a:cxn>
                <a:cxn ang="0">
                  <a:pos x="1922" y="2520"/>
                </a:cxn>
                <a:cxn ang="0">
                  <a:pos x="2233" y="2552"/>
                </a:cxn>
                <a:cxn ang="0">
                  <a:pos x="2476" y="2284"/>
                </a:cxn>
                <a:cxn ang="0">
                  <a:pos x="2382" y="2020"/>
                </a:cxn>
                <a:cxn ang="0">
                  <a:pos x="2536" y="1784"/>
                </a:cxn>
                <a:cxn ang="0">
                  <a:pos x="2505" y="1500"/>
                </a:cxn>
                <a:cxn ang="0">
                  <a:pos x="2488" y="1291"/>
                </a:cxn>
                <a:cxn ang="0">
                  <a:pos x="2714" y="1047"/>
                </a:cxn>
                <a:cxn ang="0">
                  <a:pos x="2950" y="803"/>
                </a:cxn>
                <a:cxn ang="0">
                  <a:pos x="2828" y="791"/>
                </a:cxn>
                <a:cxn ang="0">
                  <a:pos x="2260" y="554"/>
                </a:cxn>
                <a:cxn ang="0">
                  <a:pos x="2043" y="649"/>
                </a:cxn>
                <a:cxn ang="0">
                  <a:pos x="1862" y="755"/>
                </a:cxn>
                <a:cxn ang="0">
                  <a:pos x="1692" y="886"/>
                </a:cxn>
                <a:cxn ang="0">
                  <a:pos x="1720" y="772"/>
                </a:cxn>
                <a:cxn ang="0">
                  <a:pos x="1713" y="614"/>
                </a:cxn>
                <a:cxn ang="0">
                  <a:pos x="1759" y="472"/>
                </a:cxn>
                <a:cxn ang="0">
                  <a:pos x="1732" y="405"/>
                </a:cxn>
                <a:cxn ang="0">
                  <a:pos x="1626" y="204"/>
                </a:cxn>
                <a:cxn ang="0">
                  <a:pos x="1429" y="216"/>
                </a:cxn>
                <a:cxn ang="0">
                  <a:pos x="1369" y="121"/>
                </a:cxn>
                <a:cxn ang="0">
                  <a:pos x="1314" y="94"/>
                </a:cxn>
                <a:cxn ang="0">
                  <a:pos x="1133" y="27"/>
                </a:cxn>
                <a:cxn ang="0">
                  <a:pos x="1002" y="141"/>
                </a:cxn>
                <a:cxn ang="0">
                  <a:pos x="916" y="440"/>
                </a:cxn>
                <a:cxn ang="0">
                  <a:pos x="822" y="649"/>
                </a:cxn>
                <a:cxn ang="0">
                  <a:pos x="707" y="913"/>
                </a:cxn>
                <a:cxn ang="0">
                  <a:pos x="368" y="1464"/>
                </a:cxn>
                <a:cxn ang="0">
                  <a:pos x="0" y="1712"/>
                </a:cxn>
                <a:cxn ang="0">
                  <a:pos x="254" y="1784"/>
                </a:cxn>
              </a:cxnLst>
              <a:rect l="0" t="0" r="r" b="b"/>
              <a:pathLst>
                <a:path w="2950" h="4033">
                  <a:moveTo>
                    <a:pt x="254" y="1784"/>
                  </a:moveTo>
                  <a:lnTo>
                    <a:pt x="416" y="1945"/>
                  </a:lnTo>
                  <a:lnTo>
                    <a:pt x="435" y="2379"/>
                  </a:lnTo>
                  <a:lnTo>
                    <a:pt x="368" y="2559"/>
                  </a:lnTo>
                  <a:lnTo>
                    <a:pt x="302" y="2627"/>
                  </a:lnTo>
                  <a:lnTo>
                    <a:pt x="396" y="2682"/>
                  </a:lnTo>
                  <a:lnTo>
                    <a:pt x="416" y="2777"/>
                  </a:lnTo>
                  <a:lnTo>
                    <a:pt x="605" y="3013"/>
                  </a:lnTo>
                  <a:lnTo>
                    <a:pt x="754" y="2977"/>
                  </a:lnTo>
                  <a:lnTo>
                    <a:pt x="834" y="3025"/>
                  </a:lnTo>
                  <a:lnTo>
                    <a:pt x="834" y="3154"/>
                  </a:lnTo>
                  <a:lnTo>
                    <a:pt x="691" y="3221"/>
                  </a:lnTo>
                  <a:lnTo>
                    <a:pt x="584" y="3457"/>
                  </a:lnTo>
                  <a:lnTo>
                    <a:pt x="691" y="3619"/>
                  </a:lnTo>
                  <a:lnTo>
                    <a:pt x="793" y="3722"/>
                  </a:lnTo>
                  <a:lnTo>
                    <a:pt x="766" y="3768"/>
                  </a:lnTo>
                  <a:lnTo>
                    <a:pt x="861" y="3977"/>
                  </a:lnTo>
                  <a:lnTo>
                    <a:pt x="1058" y="4033"/>
                  </a:lnTo>
                  <a:lnTo>
                    <a:pt x="1125" y="3714"/>
                  </a:lnTo>
                  <a:lnTo>
                    <a:pt x="1070" y="3486"/>
                  </a:lnTo>
                  <a:lnTo>
                    <a:pt x="1220" y="3127"/>
                  </a:lnTo>
                  <a:lnTo>
                    <a:pt x="1334" y="2851"/>
                  </a:lnTo>
                  <a:lnTo>
                    <a:pt x="1684" y="2721"/>
                  </a:lnTo>
                  <a:lnTo>
                    <a:pt x="1922" y="2520"/>
                  </a:lnTo>
                  <a:lnTo>
                    <a:pt x="2090" y="2465"/>
                  </a:lnTo>
                  <a:lnTo>
                    <a:pt x="2233" y="2552"/>
                  </a:lnTo>
                  <a:lnTo>
                    <a:pt x="2442" y="2484"/>
                  </a:lnTo>
                  <a:lnTo>
                    <a:pt x="2476" y="2284"/>
                  </a:lnTo>
                  <a:lnTo>
                    <a:pt x="2394" y="2182"/>
                  </a:lnTo>
                  <a:lnTo>
                    <a:pt x="2382" y="2020"/>
                  </a:lnTo>
                  <a:lnTo>
                    <a:pt x="2517" y="1870"/>
                  </a:lnTo>
                  <a:lnTo>
                    <a:pt x="2536" y="1784"/>
                  </a:lnTo>
                  <a:lnTo>
                    <a:pt x="2469" y="1622"/>
                  </a:lnTo>
                  <a:lnTo>
                    <a:pt x="2505" y="1500"/>
                  </a:lnTo>
                  <a:lnTo>
                    <a:pt x="2430" y="1425"/>
                  </a:lnTo>
                  <a:lnTo>
                    <a:pt x="2488" y="1291"/>
                  </a:lnTo>
                  <a:lnTo>
                    <a:pt x="2631" y="1054"/>
                  </a:lnTo>
                  <a:lnTo>
                    <a:pt x="2714" y="1047"/>
                  </a:lnTo>
                  <a:lnTo>
                    <a:pt x="2882" y="933"/>
                  </a:lnTo>
                  <a:lnTo>
                    <a:pt x="2950" y="803"/>
                  </a:lnTo>
                  <a:lnTo>
                    <a:pt x="2930" y="763"/>
                  </a:lnTo>
                  <a:lnTo>
                    <a:pt x="2828" y="791"/>
                  </a:lnTo>
                  <a:lnTo>
                    <a:pt x="2678" y="716"/>
                  </a:lnTo>
                  <a:lnTo>
                    <a:pt x="2260" y="554"/>
                  </a:lnTo>
                  <a:lnTo>
                    <a:pt x="2213" y="622"/>
                  </a:lnTo>
                  <a:lnTo>
                    <a:pt x="2043" y="649"/>
                  </a:lnTo>
                  <a:lnTo>
                    <a:pt x="1949" y="736"/>
                  </a:lnTo>
                  <a:lnTo>
                    <a:pt x="1862" y="755"/>
                  </a:lnTo>
                  <a:lnTo>
                    <a:pt x="1720" y="905"/>
                  </a:lnTo>
                  <a:lnTo>
                    <a:pt x="1692" y="886"/>
                  </a:lnTo>
                  <a:lnTo>
                    <a:pt x="1732" y="803"/>
                  </a:lnTo>
                  <a:lnTo>
                    <a:pt x="1720" y="772"/>
                  </a:lnTo>
                  <a:lnTo>
                    <a:pt x="1672" y="743"/>
                  </a:lnTo>
                  <a:lnTo>
                    <a:pt x="1713" y="614"/>
                  </a:lnTo>
                  <a:lnTo>
                    <a:pt x="1787" y="507"/>
                  </a:lnTo>
                  <a:lnTo>
                    <a:pt x="1759" y="472"/>
                  </a:lnTo>
                  <a:lnTo>
                    <a:pt x="1672" y="480"/>
                  </a:lnTo>
                  <a:lnTo>
                    <a:pt x="1732" y="405"/>
                  </a:lnTo>
                  <a:lnTo>
                    <a:pt x="1740" y="330"/>
                  </a:lnTo>
                  <a:lnTo>
                    <a:pt x="1626" y="204"/>
                  </a:lnTo>
                  <a:lnTo>
                    <a:pt x="1476" y="157"/>
                  </a:lnTo>
                  <a:lnTo>
                    <a:pt x="1429" y="216"/>
                  </a:lnTo>
                  <a:lnTo>
                    <a:pt x="1390" y="216"/>
                  </a:lnTo>
                  <a:lnTo>
                    <a:pt x="1369" y="121"/>
                  </a:lnTo>
                  <a:lnTo>
                    <a:pt x="1354" y="82"/>
                  </a:lnTo>
                  <a:lnTo>
                    <a:pt x="1314" y="94"/>
                  </a:lnTo>
                  <a:lnTo>
                    <a:pt x="1247" y="63"/>
                  </a:lnTo>
                  <a:lnTo>
                    <a:pt x="1133" y="27"/>
                  </a:lnTo>
                  <a:lnTo>
                    <a:pt x="1038" y="0"/>
                  </a:lnTo>
                  <a:lnTo>
                    <a:pt x="1002" y="141"/>
                  </a:lnTo>
                  <a:lnTo>
                    <a:pt x="1002" y="311"/>
                  </a:lnTo>
                  <a:lnTo>
                    <a:pt x="916" y="440"/>
                  </a:lnTo>
                  <a:lnTo>
                    <a:pt x="909" y="535"/>
                  </a:lnTo>
                  <a:lnTo>
                    <a:pt x="822" y="649"/>
                  </a:lnTo>
                  <a:lnTo>
                    <a:pt x="822" y="791"/>
                  </a:lnTo>
                  <a:lnTo>
                    <a:pt x="707" y="913"/>
                  </a:lnTo>
                  <a:lnTo>
                    <a:pt x="625" y="1086"/>
                  </a:lnTo>
                  <a:lnTo>
                    <a:pt x="368" y="1464"/>
                  </a:lnTo>
                  <a:lnTo>
                    <a:pt x="219" y="1500"/>
                  </a:lnTo>
                  <a:lnTo>
                    <a:pt x="0" y="1712"/>
                  </a:lnTo>
                  <a:lnTo>
                    <a:pt x="139" y="1784"/>
                  </a:lnTo>
                  <a:lnTo>
                    <a:pt x="254" y="1784"/>
                  </a:lnTo>
                  <a:lnTo>
                    <a:pt x="254" y="1784"/>
                  </a:lnTo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11" name="Freeform 20">
              <a:extLst>
                <a:ext uri="{FF2B5EF4-FFF2-40B4-BE49-F238E27FC236}">
                  <a16:creationId xmlns:a16="http://schemas.microsoft.com/office/drawing/2014/main" id="{413BC832-0C05-4D23-9EB3-470742BAFD43}"/>
                </a:ext>
              </a:extLst>
            </p:cNvPr>
            <p:cNvSpPr>
              <a:spLocks/>
            </p:cNvSpPr>
            <p:nvPr/>
          </p:nvSpPr>
          <p:spPr bwMode="gray">
            <a:xfrm>
              <a:off x="3017463" y="982153"/>
              <a:ext cx="1777055" cy="1392205"/>
            </a:xfrm>
            <a:custGeom>
              <a:avLst/>
              <a:gdLst/>
              <a:ahLst/>
              <a:cxnLst>
                <a:cxn ang="0">
                  <a:pos x="0" y="630"/>
                </a:cxn>
                <a:cxn ang="0">
                  <a:pos x="255" y="481"/>
                </a:cxn>
                <a:cxn ang="0">
                  <a:pos x="457" y="413"/>
                </a:cxn>
                <a:cxn ang="0">
                  <a:pos x="729" y="291"/>
                </a:cxn>
                <a:cxn ang="0">
                  <a:pos x="984" y="284"/>
                </a:cxn>
                <a:cxn ang="0">
                  <a:pos x="1355" y="311"/>
                </a:cxn>
                <a:cxn ang="0">
                  <a:pos x="1249" y="169"/>
                </a:cxn>
                <a:cxn ang="0">
                  <a:pos x="1457" y="63"/>
                </a:cxn>
                <a:cxn ang="0">
                  <a:pos x="1883" y="102"/>
                </a:cxn>
                <a:cxn ang="0">
                  <a:pos x="1911" y="299"/>
                </a:cxn>
                <a:cxn ang="0">
                  <a:pos x="2194" y="433"/>
                </a:cxn>
                <a:cxn ang="0">
                  <a:pos x="2470" y="614"/>
                </a:cxn>
                <a:cxn ang="0">
                  <a:pos x="2601" y="879"/>
                </a:cxn>
                <a:cxn ang="0">
                  <a:pos x="2789" y="1217"/>
                </a:cxn>
                <a:cxn ang="0">
                  <a:pos x="2944" y="1559"/>
                </a:cxn>
                <a:cxn ang="0">
                  <a:pos x="3085" y="1736"/>
                </a:cxn>
                <a:cxn ang="0">
                  <a:pos x="2971" y="1870"/>
                </a:cxn>
                <a:cxn ang="0">
                  <a:pos x="3046" y="2154"/>
                </a:cxn>
                <a:cxn ang="0">
                  <a:pos x="3389" y="1717"/>
                </a:cxn>
                <a:cxn ang="0">
                  <a:pos x="3625" y="1595"/>
                </a:cxn>
                <a:cxn ang="0">
                  <a:pos x="3688" y="1831"/>
                </a:cxn>
                <a:cxn ang="0">
                  <a:pos x="3546" y="1965"/>
                </a:cxn>
                <a:cxn ang="0">
                  <a:pos x="3641" y="2068"/>
                </a:cxn>
                <a:cxn ang="0">
                  <a:pos x="3775" y="2013"/>
                </a:cxn>
                <a:cxn ang="0">
                  <a:pos x="3991" y="1965"/>
                </a:cxn>
                <a:cxn ang="0">
                  <a:pos x="4098" y="2047"/>
                </a:cxn>
                <a:cxn ang="0">
                  <a:pos x="4275" y="2020"/>
                </a:cxn>
                <a:cxn ang="0">
                  <a:pos x="4153" y="2316"/>
                </a:cxn>
                <a:cxn ang="0">
                  <a:pos x="4209" y="2343"/>
                </a:cxn>
                <a:cxn ang="0">
                  <a:pos x="4618" y="1823"/>
                </a:cxn>
                <a:cxn ang="0">
                  <a:pos x="4720" y="1811"/>
                </a:cxn>
                <a:cxn ang="0">
                  <a:pos x="4870" y="1540"/>
                </a:cxn>
                <a:cxn ang="0">
                  <a:pos x="5174" y="1481"/>
                </a:cxn>
                <a:cxn ang="0">
                  <a:pos x="5470" y="1540"/>
                </a:cxn>
                <a:cxn ang="0">
                  <a:pos x="5686" y="1607"/>
                </a:cxn>
                <a:cxn ang="0">
                  <a:pos x="5733" y="1843"/>
                </a:cxn>
                <a:cxn ang="0">
                  <a:pos x="5647" y="2142"/>
                </a:cxn>
                <a:cxn ang="0">
                  <a:pos x="5553" y="2351"/>
                </a:cxn>
                <a:cxn ang="0">
                  <a:pos x="5438" y="2615"/>
                </a:cxn>
                <a:cxn ang="0">
                  <a:pos x="5099" y="3166"/>
                </a:cxn>
                <a:cxn ang="0">
                  <a:pos x="4731" y="3414"/>
                </a:cxn>
                <a:cxn ang="0">
                  <a:pos x="4749" y="3552"/>
                </a:cxn>
                <a:cxn ang="0">
                  <a:pos x="4741" y="3903"/>
                </a:cxn>
                <a:cxn ang="0">
                  <a:pos x="4382" y="4222"/>
                </a:cxn>
                <a:cxn ang="0">
                  <a:pos x="4315" y="4490"/>
                </a:cxn>
                <a:cxn ang="0">
                  <a:pos x="4275" y="4931"/>
                </a:cxn>
                <a:cxn ang="0">
                  <a:pos x="3877" y="5530"/>
                </a:cxn>
                <a:cxn ang="0">
                  <a:pos x="977" y="5309"/>
                </a:cxn>
                <a:cxn ang="0">
                  <a:pos x="843" y="5207"/>
                </a:cxn>
                <a:cxn ang="0">
                  <a:pos x="626" y="4802"/>
                </a:cxn>
                <a:cxn ang="0">
                  <a:pos x="294" y="4195"/>
                </a:cxn>
                <a:cxn ang="0">
                  <a:pos x="1127" y="2142"/>
                </a:cxn>
                <a:cxn ang="0">
                  <a:pos x="787" y="1898"/>
                </a:cxn>
                <a:cxn ang="0">
                  <a:pos x="389" y="1859"/>
                </a:cxn>
                <a:cxn ang="0">
                  <a:pos x="42" y="1016"/>
                </a:cxn>
              </a:cxnLst>
              <a:rect l="0" t="0" r="r" b="b"/>
              <a:pathLst>
                <a:path w="5769" h="5530">
                  <a:moveTo>
                    <a:pt x="42" y="1016"/>
                  </a:moveTo>
                  <a:lnTo>
                    <a:pt x="0" y="630"/>
                  </a:lnTo>
                  <a:lnTo>
                    <a:pt x="105" y="614"/>
                  </a:lnTo>
                  <a:lnTo>
                    <a:pt x="255" y="481"/>
                  </a:lnTo>
                  <a:lnTo>
                    <a:pt x="342" y="488"/>
                  </a:lnTo>
                  <a:lnTo>
                    <a:pt x="457" y="413"/>
                  </a:lnTo>
                  <a:lnTo>
                    <a:pt x="578" y="413"/>
                  </a:lnTo>
                  <a:lnTo>
                    <a:pt x="729" y="291"/>
                  </a:lnTo>
                  <a:lnTo>
                    <a:pt x="918" y="331"/>
                  </a:lnTo>
                  <a:lnTo>
                    <a:pt x="984" y="284"/>
                  </a:lnTo>
                  <a:lnTo>
                    <a:pt x="1249" y="338"/>
                  </a:lnTo>
                  <a:lnTo>
                    <a:pt x="1355" y="311"/>
                  </a:lnTo>
                  <a:lnTo>
                    <a:pt x="1343" y="263"/>
                  </a:lnTo>
                  <a:lnTo>
                    <a:pt x="1249" y="169"/>
                  </a:lnTo>
                  <a:lnTo>
                    <a:pt x="1336" y="63"/>
                  </a:lnTo>
                  <a:lnTo>
                    <a:pt x="1457" y="63"/>
                  </a:lnTo>
                  <a:lnTo>
                    <a:pt x="1761" y="0"/>
                  </a:lnTo>
                  <a:lnTo>
                    <a:pt x="1883" y="102"/>
                  </a:lnTo>
                  <a:lnTo>
                    <a:pt x="1883" y="224"/>
                  </a:lnTo>
                  <a:lnTo>
                    <a:pt x="1911" y="299"/>
                  </a:lnTo>
                  <a:lnTo>
                    <a:pt x="2033" y="319"/>
                  </a:lnTo>
                  <a:lnTo>
                    <a:pt x="2194" y="433"/>
                  </a:lnTo>
                  <a:lnTo>
                    <a:pt x="2424" y="508"/>
                  </a:lnTo>
                  <a:lnTo>
                    <a:pt x="2470" y="614"/>
                  </a:lnTo>
                  <a:lnTo>
                    <a:pt x="2612" y="784"/>
                  </a:lnTo>
                  <a:lnTo>
                    <a:pt x="2601" y="879"/>
                  </a:lnTo>
                  <a:lnTo>
                    <a:pt x="2679" y="1161"/>
                  </a:lnTo>
                  <a:lnTo>
                    <a:pt x="2789" y="1217"/>
                  </a:lnTo>
                  <a:lnTo>
                    <a:pt x="2829" y="1292"/>
                  </a:lnTo>
                  <a:lnTo>
                    <a:pt x="2944" y="1559"/>
                  </a:lnTo>
                  <a:lnTo>
                    <a:pt x="3180" y="1634"/>
                  </a:lnTo>
                  <a:lnTo>
                    <a:pt x="3085" y="1736"/>
                  </a:lnTo>
                  <a:lnTo>
                    <a:pt x="2782" y="1843"/>
                  </a:lnTo>
                  <a:lnTo>
                    <a:pt x="2971" y="1870"/>
                  </a:lnTo>
                  <a:lnTo>
                    <a:pt x="2971" y="2059"/>
                  </a:lnTo>
                  <a:lnTo>
                    <a:pt x="3046" y="2154"/>
                  </a:lnTo>
                  <a:lnTo>
                    <a:pt x="3026" y="1906"/>
                  </a:lnTo>
                  <a:lnTo>
                    <a:pt x="3389" y="1717"/>
                  </a:lnTo>
                  <a:lnTo>
                    <a:pt x="3558" y="1588"/>
                  </a:lnTo>
                  <a:lnTo>
                    <a:pt x="3625" y="1595"/>
                  </a:lnTo>
                  <a:lnTo>
                    <a:pt x="3641" y="1736"/>
                  </a:lnTo>
                  <a:lnTo>
                    <a:pt x="3688" y="1831"/>
                  </a:lnTo>
                  <a:lnTo>
                    <a:pt x="3661" y="1953"/>
                  </a:lnTo>
                  <a:lnTo>
                    <a:pt x="3546" y="1965"/>
                  </a:lnTo>
                  <a:lnTo>
                    <a:pt x="3578" y="2047"/>
                  </a:lnTo>
                  <a:lnTo>
                    <a:pt x="3641" y="2068"/>
                  </a:lnTo>
                  <a:lnTo>
                    <a:pt x="3728" y="1984"/>
                  </a:lnTo>
                  <a:lnTo>
                    <a:pt x="3775" y="2013"/>
                  </a:lnTo>
                  <a:lnTo>
                    <a:pt x="3870" y="2013"/>
                  </a:lnTo>
                  <a:lnTo>
                    <a:pt x="3991" y="1965"/>
                  </a:lnTo>
                  <a:lnTo>
                    <a:pt x="4059" y="2013"/>
                  </a:lnTo>
                  <a:lnTo>
                    <a:pt x="4098" y="2047"/>
                  </a:lnTo>
                  <a:lnTo>
                    <a:pt x="4241" y="1984"/>
                  </a:lnTo>
                  <a:lnTo>
                    <a:pt x="4275" y="2020"/>
                  </a:lnTo>
                  <a:lnTo>
                    <a:pt x="4256" y="2134"/>
                  </a:lnTo>
                  <a:lnTo>
                    <a:pt x="4153" y="2316"/>
                  </a:lnTo>
                  <a:lnTo>
                    <a:pt x="4161" y="2391"/>
                  </a:lnTo>
                  <a:lnTo>
                    <a:pt x="4209" y="2343"/>
                  </a:lnTo>
                  <a:lnTo>
                    <a:pt x="4370" y="2020"/>
                  </a:lnTo>
                  <a:lnTo>
                    <a:pt x="4618" y="1823"/>
                  </a:lnTo>
                  <a:lnTo>
                    <a:pt x="4701" y="1843"/>
                  </a:lnTo>
                  <a:lnTo>
                    <a:pt x="4720" y="1811"/>
                  </a:lnTo>
                  <a:lnTo>
                    <a:pt x="4713" y="1756"/>
                  </a:lnTo>
                  <a:lnTo>
                    <a:pt x="4870" y="1540"/>
                  </a:lnTo>
                  <a:lnTo>
                    <a:pt x="5079" y="1445"/>
                  </a:lnTo>
                  <a:lnTo>
                    <a:pt x="5174" y="1481"/>
                  </a:lnTo>
                  <a:lnTo>
                    <a:pt x="5249" y="1453"/>
                  </a:lnTo>
                  <a:lnTo>
                    <a:pt x="5470" y="1540"/>
                  </a:lnTo>
                  <a:lnTo>
                    <a:pt x="5565" y="1622"/>
                  </a:lnTo>
                  <a:lnTo>
                    <a:pt x="5686" y="1607"/>
                  </a:lnTo>
                  <a:lnTo>
                    <a:pt x="5769" y="1702"/>
                  </a:lnTo>
                  <a:lnTo>
                    <a:pt x="5733" y="1843"/>
                  </a:lnTo>
                  <a:lnTo>
                    <a:pt x="5733" y="2013"/>
                  </a:lnTo>
                  <a:lnTo>
                    <a:pt x="5647" y="2142"/>
                  </a:lnTo>
                  <a:lnTo>
                    <a:pt x="5640" y="2237"/>
                  </a:lnTo>
                  <a:lnTo>
                    <a:pt x="5553" y="2351"/>
                  </a:lnTo>
                  <a:lnTo>
                    <a:pt x="5553" y="2493"/>
                  </a:lnTo>
                  <a:lnTo>
                    <a:pt x="5438" y="2615"/>
                  </a:lnTo>
                  <a:lnTo>
                    <a:pt x="5356" y="2788"/>
                  </a:lnTo>
                  <a:lnTo>
                    <a:pt x="5099" y="3166"/>
                  </a:lnTo>
                  <a:lnTo>
                    <a:pt x="4950" y="3202"/>
                  </a:lnTo>
                  <a:lnTo>
                    <a:pt x="4731" y="3414"/>
                  </a:lnTo>
                  <a:lnTo>
                    <a:pt x="4618" y="3525"/>
                  </a:lnTo>
                  <a:lnTo>
                    <a:pt x="4749" y="3552"/>
                  </a:lnTo>
                  <a:lnTo>
                    <a:pt x="4824" y="3608"/>
                  </a:lnTo>
                  <a:lnTo>
                    <a:pt x="4741" y="3903"/>
                  </a:lnTo>
                  <a:lnTo>
                    <a:pt x="4540" y="4127"/>
                  </a:lnTo>
                  <a:lnTo>
                    <a:pt x="4382" y="4222"/>
                  </a:lnTo>
                  <a:lnTo>
                    <a:pt x="4382" y="4289"/>
                  </a:lnTo>
                  <a:lnTo>
                    <a:pt x="4315" y="4490"/>
                  </a:lnTo>
                  <a:lnTo>
                    <a:pt x="4362" y="4612"/>
                  </a:lnTo>
                  <a:lnTo>
                    <a:pt x="4275" y="4931"/>
                  </a:lnTo>
                  <a:lnTo>
                    <a:pt x="4086" y="5179"/>
                  </a:lnTo>
                  <a:lnTo>
                    <a:pt x="3877" y="5530"/>
                  </a:lnTo>
                  <a:lnTo>
                    <a:pt x="1024" y="5356"/>
                  </a:lnTo>
                  <a:lnTo>
                    <a:pt x="977" y="5309"/>
                  </a:lnTo>
                  <a:lnTo>
                    <a:pt x="890" y="5273"/>
                  </a:lnTo>
                  <a:lnTo>
                    <a:pt x="843" y="5207"/>
                  </a:lnTo>
                  <a:lnTo>
                    <a:pt x="634" y="5018"/>
                  </a:lnTo>
                  <a:lnTo>
                    <a:pt x="626" y="4802"/>
                  </a:lnTo>
                  <a:lnTo>
                    <a:pt x="420" y="4423"/>
                  </a:lnTo>
                  <a:lnTo>
                    <a:pt x="294" y="4195"/>
                  </a:lnTo>
                  <a:lnTo>
                    <a:pt x="626" y="3403"/>
                  </a:lnTo>
                  <a:lnTo>
                    <a:pt x="1127" y="2142"/>
                  </a:lnTo>
                  <a:lnTo>
                    <a:pt x="1013" y="2047"/>
                  </a:lnTo>
                  <a:lnTo>
                    <a:pt x="787" y="1898"/>
                  </a:lnTo>
                  <a:lnTo>
                    <a:pt x="681" y="1898"/>
                  </a:lnTo>
                  <a:lnTo>
                    <a:pt x="389" y="1859"/>
                  </a:lnTo>
                  <a:lnTo>
                    <a:pt x="86" y="1406"/>
                  </a:lnTo>
                  <a:lnTo>
                    <a:pt x="42" y="1016"/>
                  </a:lnTo>
                  <a:lnTo>
                    <a:pt x="42" y="1016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12" name="Freeform 21">
              <a:extLst>
                <a:ext uri="{FF2B5EF4-FFF2-40B4-BE49-F238E27FC236}">
                  <a16:creationId xmlns:a16="http://schemas.microsoft.com/office/drawing/2014/main" id="{3C1E6E43-F74A-44BC-A348-AC8800A7A344}"/>
                </a:ext>
              </a:extLst>
            </p:cNvPr>
            <p:cNvSpPr>
              <a:spLocks/>
            </p:cNvSpPr>
            <p:nvPr/>
          </p:nvSpPr>
          <p:spPr bwMode="gray">
            <a:xfrm>
              <a:off x="2682491" y="2096379"/>
              <a:ext cx="1530083" cy="1218468"/>
            </a:xfrm>
            <a:custGeom>
              <a:avLst/>
              <a:gdLst/>
              <a:ahLst/>
              <a:cxnLst>
                <a:cxn ang="0">
                  <a:pos x="1370" y="642"/>
                </a:cxn>
                <a:cxn ang="0">
                  <a:pos x="1411" y="272"/>
                </a:cxn>
                <a:cxn ang="0">
                  <a:pos x="1508" y="0"/>
                </a:cxn>
                <a:cxn ang="0">
                  <a:pos x="1722" y="595"/>
                </a:cxn>
                <a:cxn ang="0">
                  <a:pos x="1978" y="850"/>
                </a:cxn>
                <a:cxn ang="0">
                  <a:pos x="2112" y="933"/>
                </a:cxn>
                <a:cxn ang="0">
                  <a:pos x="4776" y="1702"/>
                </a:cxn>
                <a:cxn ang="0">
                  <a:pos x="4843" y="2513"/>
                </a:cxn>
                <a:cxn ang="0">
                  <a:pos x="4634" y="3202"/>
                </a:cxn>
                <a:cxn ang="0">
                  <a:pos x="4465" y="3404"/>
                </a:cxn>
                <a:cxn ang="0">
                  <a:pos x="4221" y="3770"/>
                </a:cxn>
                <a:cxn ang="0">
                  <a:pos x="3937" y="4045"/>
                </a:cxn>
                <a:cxn ang="0">
                  <a:pos x="3680" y="4479"/>
                </a:cxn>
                <a:cxn ang="0">
                  <a:pos x="3539" y="4659"/>
                </a:cxn>
                <a:cxn ang="0">
                  <a:pos x="3355" y="4441"/>
                </a:cxn>
                <a:cxn ang="0">
                  <a:pos x="3247" y="4518"/>
                </a:cxn>
                <a:cxn ang="0">
                  <a:pos x="2944" y="4573"/>
                </a:cxn>
                <a:cxn ang="0">
                  <a:pos x="2349" y="4431"/>
                </a:cxn>
                <a:cxn ang="0">
                  <a:pos x="2072" y="4593"/>
                </a:cxn>
                <a:cxn ang="0">
                  <a:pos x="1809" y="4856"/>
                </a:cxn>
                <a:cxn ang="0">
                  <a:pos x="1477" y="4510"/>
                </a:cxn>
                <a:cxn ang="0">
                  <a:pos x="1450" y="4195"/>
                </a:cxn>
                <a:cxn ang="0">
                  <a:pos x="721" y="4072"/>
                </a:cxn>
                <a:cxn ang="0">
                  <a:pos x="646" y="3734"/>
                </a:cxn>
                <a:cxn ang="0">
                  <a:pos x="566" y="3506"/>
                </a:cxn>
                <a:cxn ang="0">
                  <a:pos x="587" y="3297"/>
                </a:cxn>
                <a:cxn ang="0">
                  <a:pos x="559" y="3060"/>
                </a:cxn>
                <a:cxn ang="0">
                  <a:pos x="445" y="2836"/>
                </a:cxn>
                <a:cxn ang="0">
                  <a:pos x="654" y="2533"/>
                </a:cxn>
                <a:cxn ang="0">
                  <a:pos x="748" y="2194"/>
                </a:cxn>
                <a:cxn ang="0">
                  <a:pos x="682" y="1918"/>
                </a:cxn>
                <a:cxn ang="0">
                  <a:pos x="626" y="1709"/>
                </a:cxn>
                <a:cxn ang="0">
                  <a:pos x="39" y="1465"/>
                </a:cxn>
                <a:cxn ang="0">
                  <a:pos x="78" y="1142"/>
                </a:cxn>
                <a:cxn ang="0">
                  <a:pos x="66" y="709"/>
                </a:cxn>
              </a:cxnLst>
              <a:rect l="0" t="0" r="r" b="b"/>
              <a:pathLst>
                <a:path w="4965" h="4856">
                  <a:moveTo>
                    <a:pt x="66" y="709"/>
                  </a:moveTo>
                  <a:lnTo>
                    <a:pt x="1370" y="642"/>
                  </a:lnTo>
                  <a:lnTo>
                    <a:pt x="1411" y="433"/>
                  </a:lnTo>
                  <a:lnTo>
                    <a:pt x="1411" y="272"/>
                  </a:lnTo>
                  <a:lnTo>
                    <a:pt x="1418" y="177"/>
                  </a:lnTo>
                  <a:lnTo>
                    <a:pt x="1508" y="0"/>
                  </a:lnTo>
                  <a:lnTo>
                    <a:pt x="1714" y="379"/>
                  </a:lnTo>
                  <a:lnTo>
                    <a:pt x="1722" y="595"/>
                  </a:lnTo>
                  <a:lnTo>
                    <a:pt x="1931" y="784"/>
                  </a:lnTo>
                  <a:lnTo>
                    <a:pt x="1978" y="850"/>
                  </a:lnTo>
                  <a:lnTo>
                    <a:pt x="2065" y="886"/>
                  </a:lnTo>
                  <a:lnTo>
                    <a:pt x="2112" y="933"/>
                  </a:lnTo>
                  <a:lnTo>
                    <a:pt x="4965" y="1107"/>
                  </a:lnTo>
                  <a:lnTo>
                    <a:pt x="4776" y="1702"/>
                  </a:lnTo>
                  <a:lnTo>
                    <a:pt x="4776" y="2288"/>
                  </a:lnTo>
                  <a:lnTo>
                    <a:pt x="4843" y="2513"/>
                  </a:lnTo>
                  <a:lnTo>
                    <a:pt x="4729" y="2729"/>
                  </a:lnTo>
                  <a:lnTo>
                    <a:pt x="4634" y="3202"/>
                  </a:lnTo>
                  <a:lnTo>
                    <a:pt x="4513" y="3423"/>
                  </a:lnTo>
                  <a:lnTo>
                    <a:pt x="4465" y="3404"/>
                  </a:lnTo>
                  <a:lnTo>
                    <a:pt x="4398" y="3438"/>
                  </a:lnTo>
                  <a:lnTo>
                    <a:pt x="4221" y="3770"/>
                  </a:lnTo>
                  <a:lnTo>
                    <a:pt x="4098" y="3809"/>
                  </a:lnTo>
                  <a:lnTo>
                    <a:pt x="3937" y="4045"/>
                  </a:lnTo>
                  <a:lnTo>
                    <a:pt x="3736" y="4261"/>
                  </a:lnTo>
                  <a:lnTo>
                    <a:pt x="3680" y="4479"/>
                  </a:lnTo>
                  <a:lnTo>
                    <a:pt x="3689" y="4754"/>
                  </a:lnTo>
                  <a:lnTo>
                    <a:pt x="3539" y="4659"/>
                  </a:lnTo>
                  <a:lnTo>
                    <a:pt x="3444" y="4451"/>
                  </a:lnTo>
                  <a:lnTo>
                    <a:pt x="3355" y="4441"/>
                  </a:lnTo>
                  <a:lnTo>
                    <a:pt x="3310" y="4518"/>
                  </a:lnTo>
                  <a:lnTo>
                    <a:pt x="3247" y="4518"/>
                  </a:lnTo>
                  <a:lnTo>
                    <a:pt x="3066" y="4490"/>
                  </a:lnTo>
                  <a:lnTo>
                    <a:pt x="2944" y="4573"/>
                  </a:lnTo>
                  <a:lnTo>
                    <a:pt x="2424" y="4396"/>
                  </a:lnTo>
                  <a:lnTo>
                    <a:pt x="2349" y="4431"/>
                  </a:lnTo>
                  <a:lnTo>
                    <a:pt x="2186" y="4463"/>
                  </a:lnTo>
                  <a:lnTo>
                    <a:pt x="2072" y="4593"/>
                  </a:lnTo>
                  <a:lnTo>
                    <a:pt x="1875" y="4734"/>
                  </a:lnTo>
                  <a:lnTo>
                    <a:pt x="1809" y="4856"/>
                  </a:lnTo>
                  <a:lnTo>
                    <a:pt x="1686" y="4605"/>
                  </a:lnTo>
                  <a:lnTo>
                    <a:pt x="1477" y="4510"/>
                  </a:lnTo>
                  <a:lnTo>
                    <a:pt x="1411" y="4309"/>
                  </a:lnTo>
                  <a:lnTo>
                    <a:pt x="1450" y="4195"/>
                  </a:lnTo>
                  <a:lnTo>
                    <a:pt x="1458" y="4065"/>
                  </a:lnTo>
                  <a:lnTo>
                    <a:pt x="721" y="4072"/>
                  </a:lnTo>
                  <a:lnTo>
                    <a:pt x="661" y="4037"/>
                  </a:lnTo>
                  <a:lnTo>
                    <a:pt x="646" y="3734"/>
                  </a:lnTo>
                  <a:lnTo>
                    <a:pt x="504" y="3572"/>
                  </a:lnTo>
                  <a:lnTo>
                    <a:pt x="566" y="3506"/>
                  </a:lnTo>
                  <a:lnTo>
                    <a:pt x="551" y="3423"/>
                  </a:lnTo>
                  <a:lnTo>
                    <a:pt x="587" y="3297"/>
                  </a:lnTo>
                  <a:lnTo>
                    <a:pt x="512" y="3166"/>
                  </a:lnTo>
                  <a:lnTo>
                    <a:pt x="559" y="3060"/>
                  </a:lnTo>
                  <a:lnTo>
                    <a:pt x="370" y="2911"/>
                  </a:lnTo>
                  <a:lnTo>
                    <a:pt x="445" y="2836"/>
                  </a:lnTo>
                  <a:lnTo>
                    <a:pt x="551" y="2702"/>
                  </a:lnTo>
                  <a:lnTo>
                    <a:pt x="654" y="2533"/>
                  </a:lnTo>
                  <a:lnTo>
                    <a:pt x="721" y="2399"/>
                  </a:lnTo>
                  <a:lnTo>
                    <a:pt x="748" y="2194"/>
                  </a:lnTo>
                  <a:lnTo>
                    <a:pt x="654" y="2005"/>
                  </a:lnTo>
                  <a:lnTo>
                    <a:pt x="682" y="1918"/>
                  </a:lnTo>
                  <a:lnTo>
                    <a:pt x="709" y="1777"/>
                  </a:lnTo>
                  <a:lnTo>
                    <a:pt x="626" y="1709"/>
                  </a:lnTo>
                  <a:lnTo>
                    <a:pt x="248" y="1674"/>
                  </a:lnTo>
                  <a:lnTo>
                    <a:pt x="39" y="1465"/>
                  </a:lnTo>
                  <a:lnTo>
                    <a:pt x="0" y="1370"/>
                  </a:lnTo>
                  <a:lnTo>
                    <a:pt x="78" y="1142"/>
                  </a:lnTo>
                  <a:lnTo>
                    <a:pt x="39" y="859"/>
                  </a:lnTo>
                  <a:lnTo>
                    <a:pt x="66" y="709"/>
                  </a:lnTo>
                  <a:lnTo>
                    <a:pt x="66" y="709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rnd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13" name="Freeform 22">
              <a:extLst>
                <a:ext uri="{FF2B5EF4-FFF2-40B4-BE49-F238E27FC236}">
                  <a16:creationId xmlns:a16="http://schemas.microsoft.com/office/drawing/2014/main" id="{F782596F-EEFD-4BB2-A084-F60256692910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4289" y="2189038"/>
              <a:ext cx="950979" cy="637032"/>
            </a:xfrm>
            <a:custGeom>
              <a:avLst/>
              <a:gdLst/>
              <a:ahLst/>
              <a:cxnLst>
                <a:cxn ang="0">
                  <a:pos x="2402" y="342"/>
                </a:cxn>
                <a:cxn ang="0">
                  <a:pos x="2375" y="492"/>
                </a:cxn>
                <a:cxn ang="0">
                  <a:pos x="2414" y="775"/>
                </a:cxn>
                <a:cxn ang="0">
                  <a:pos x="2336" y="1003"/>
                </a:cxn>
                <a:cxn ang="0">
                  <a:pos x="2375" y="1098"/>
                </a:cxn>
                <a:cxn ang="0">
                  <a:pos x="2584" y="1307"/>
                </a:cxn>
                <a:cxn ang="0">
                  <a:pos x="2962" y="1342"/>
                </a:cxn>
                <a:cxn ang="0">
                  <a:pos x="3045" y="1410"/>
                </a:cxn>
                <a:cxn ang="0">
                  <a:pos x="3018" y="1551"/>
                </a:cxn>
                <a:cxn ang="0">
                  <a:pos x="2990" y="1638"/>
                </a:cxn>
                <a:cxn ang="0">
                  <a:pos x="3084" y="1827"/>
                </a:cxn>
                <a:cxn ang="0">
                  <a:pos x="3057" y="2032"/>
                </a:cxn>
                <a:cxn ang="0">
                  <a:pos x="2990" y="2166"/>
                </a:cxn>
                <a:cxn ang="0">
                  <a:pos x="2887" y="2335"/>
                </a:cxn>
                <a:cxn ang="0">
                  <a:pos x="2781" y="2469"/>
                </a:cxn>
                <a:cxn ang="0">
                  <a:pos x="2706" y="2544"/>
                </a:cxn>
                <a:cxn ang="0">
                  <a:pos x="2564" y="2488"/>
                </a:cxn>
                <a:cxn ang="0">
                  <a:pos x="2261" y="2516"/>
                </a:cxn>
                <a:cxn ang="0">
                  <a:pos x="2098" y="2335"/>
                </a:cxn>
                <a:cxn ang="0">
                  <a:pos x="1949" y="2316"/>
                </a:cxn>
                <a:cxn ang="0">
                  <a:pos x="1760" y="2213"/>
                </a:cxn>
                <a:cxn ang="0">
                  <a:pos x="1693" y="2138"/>
                </a:cxn>
                <a:cxn ang="0">
                  <a:pos x="1638" y="2138"/>
                </a:cxn>
                <a:cxn ang="0">
                  <a:pos x="1590" y="2146"/>
                </a:cxn>
                <a:cxn ang="0">
                  <a:pos x="1469" y="2063"/>
                </a:cxn>
                <a:cxn ang="0">
                  <a:pos x="1240" y="2091"/>
                </a:cxn>
                <a:cxn ang="0">
                  <a:pos x="1138" y="2071"/>
                </a:cxn>
                <a:cxn ang="0">
                  <a:pos x="1051" y="1930"/>
                </a:cxn>
                <a:cxn ang="0">
                  <a:pos x="948" y="1901"/>
                </a:cxn>
                <a:cxn ang="0">
                  <a:pos x="786" y="1780"/>
                </a:cxn>
                <a:cxn ang="0">
                  <a:pos x="665" y="1484"/>
                </a:cxn>
                <a:cxn ang="0">
                  <a:pos x="692" y="1401"/>
                </a:cxn>
                <a:cxn ang="0">
                  <a:pos x="625" y="1221"/>
                </a:cxn>
                <a:cxn ang="0">
                  <a:pos x="680" y="1031"/>
                </a:cxn>
                <a:cxn ang="0">
                  <a:pos x="653" y="869"/>
                </a:cxn>
                <a:cxn ang="0">
                  <a:pos x="606" y="842"/>
                </a:cxn>
                <a:cxn ang="0">
                  <a:pos x="531" y="917"/>
                </a:cxn>
                <a:cxn ang="0">
                  <a:pos x="239" y="917"/>
                </a:cxn>
                <a:cxn ang="0">
                  <a:pos x="165" y="960"/>
                </a:cxn>
                <a:cxn ang="0">
                  <a:pos x="0" y="887"/>
                </a:cxn>
                <a:cxn ang="0">
                  <a:pos x="254" y="680"/>
                </a:cxn>
                <a:cxn ang="0">
                  <a:pos x="381" y="673"/>
                </a:cxn>
                <a:cxn ang="0">
                  <a:pos x="511" y="721"/>
                </a:cxn>
                <a:cxn ang="0">
                  <a:pos x="699" y="646"/>
                </a:cxn>
                <a:cxn ang="0">
                  <a:pos x="786" y="646"/>
                </a:cxn>
                <a:cxn ang="0">
                  <a:pos x="908" y="483"/>
                </a:cxn>
                <a:cxn ang="0">
                  <a:pos x="1173" y="408"/>
                </a:cxn>
                <a:cxn ang="0">
                  <a:pos x="1260" y="330"/>
                </a:cxn>
                <a:cxn ang="0">
                  <a:pos x="1232" y="180"/>
                </a:cxn>
                <a:cxn ang="0">
                  <a:pos x="1342" y="94"/>
                </a:cxn>
                <a:cxn ang="0">
                  <a:pos x="1401" y="66"/>
                </a:cxn>
                <a:cxn ang="0">
                  <a:pos x="1421" y="0"/>
                </a:cxn>
                <a:cxn ang="0">
                  <a:pos x="1768" y="0"/>
                </a:cxn>
                <a:cxn ang="0">
                  <a:pos x="1996" y="220"/>
                </a:cxn>
                <a:cxn ang="0">
                  <a:pos x="2402" y="342"/>
                </a:cxn>
                <a:cxn ang="0">
                  <a:pos x="2402" y="342"/>
                </a:cxn>
              </a:cxnLst>
              <a:rect l="0" t="0" r="r" b="b"/>
              <a:pathLst>
                <a:path w="3084" h="2544">
                  <a:moveTo>
                    <a:pt x="2402" y="342"/>
                  </a:moveTo>
                  <a:lnTo>
                    <a:pt x="2375" y="492"/>
                  </a:lnTo>
                  <a:lnTo>
                    <a:pt x="2414" y="775"/>
                  </a:lnTo>
                  <a:lnTo>
                    <a:pt x="2336" y="1003"/>
                  </a:lnTo>
                  <a:lnTo>
                    <a:pt x="2375" y="1098"/>
                  </a:lnTo>
                  <a:lnTo>
                    <a:pt x="2584" y="1307"/>
                  </a:lnTo>
                  <a:lnTo>
                    <a:pt x="2962" y="1342"/>
                  </a:lnTo>
                  <a:lnTo>
                    <a:pt x="3045" y="1410"/>
                  </a:lnTo>
                  <a:lnTo>
                    <a:pt x="3018" y="1551"/>
                  </a:lnTo>
                  <a:lnTo>
                    <a:pt x="2990" y="1638"/>
                  </a:lnTo>
                  <a:lnTo>
                    <a:pt x="3084" y="1827"/>
                  </a:lnTo>
                  <a:lnTo>
                    <a:pt x="3057" y="2032"/>
                  </a:lnTo>
                  <a:lnTo>
                    <a:pt x="2990" y="2166"/>
                  </a:lnTo>
                  <a:lnTo>
                    <a:pt x="2887" y="2335"/>
                  </a:lnTo>
                  <a:lnTo>
                    <a:pt x="2781" y="2469"/>
                  </a:lnTo>
                  <a:lnTo>
                    <a:pt x="2706" y="2544"/>
                  </a:lnTo>
                  <a:lnTo>
                    <a:pt x="2564" y="2488"/>
                  </a:lnTo>
                  <a:lnTo>
                    <a:pt x="2261" y="2516"/>
                  </a:lnTo>
                  <a:lnTo>
                    <a:pt x="2098" y="2335"/>
                  </a:lnTo>
                  <a:lnTo>
                    <a:pt x="1949" y="2316"/>
                  </a:lnTo>
                  <a:lnTo>
                    <a:pt x="1760" y="2213"/>
                  </a:lnTo>
                  <a:lnTo>
                    <a:pt x="1693" y="2138"/>
                  </a:lnTo>
                  <a:lnTo>
                    <a:pt x="1638" y="2138"/>
                  </a:lnTo>
                  <a:lnTo>
                    <a:pt x="1590" y="2146"/>
                  </a:lnTo>
                  <a:lnTo>
                    <a:pt x="1469" y="2063"/>
                  </a:lnTo>
                  <a:lnTo>
                    <a:pt x="1240" y="2091"/>
                  </a:lnTo>
                  <a:lnTo>
                    <a:pt x="1138" y="2071"/>
                  </a:lnTo>
                  <a:lnTo>
                    <a:pt x="1051" y="1930"/>
                  </a:lnTo>
                  <a:lnTo>
                    <a:pt x="948" y="1901"/>
                  </a:lnTo>
                  <a:lnTo>
                    <a:pt x="786" y="1780"/>
                  </a:lnTo>
                  <a:lnTo>
                    <a:pt x="665" y="1484"/>
                  </a:lnTo>
                  <a:lnTo>
                    <a:pt x="692" y="1401"/>
                  </a:lnTo>
                  <a:lnTo>
                    <a:pt x="625" y="1221"/>
                  </a:lnTo>
                  <a:lnTo>
                    <a:pt x="680" y="1031"/>
                  </a:lnTo>
                  <a:lnTo>
                    <a:pt x="653" y="869"/>
                  </a:lnTo>
                  <a:lnTo>
                    <a:pt x="606" y="842"/>
                  </a:lnTo>
                  <a:lnTo>
                    <a:pt x="531" y="917"/>
                  </a:lnTo>
                  <a:lnTo>
                    <a:pt x="239" y="917"/>
                  </a:lnTo>
                  <a:lnTo>
                    <a:pt x="165" y="960"/>
                  </a:lnTo>
                  <a:lnTo>
                    <a:pt x="0" y="887"/>
                  </a:lnTo>
                  <a:lnTo>
                    <a:pt x="254" y="680"/>
                  </a:lnTo>
                  <a:lnTo>
                    <a:pt x="381" y="673"/>
                  </a:lnTo>
                  <a:lnTo>
                    <a:pt x="511" y="721"/>
                  </a:lnTo>
                  <a:lnTo>
                    <a:pt x="699" y="646"/>
                  </a:lnTo>
                  <a:lnTo>
                    <a:pt x="786" y="646"/>
                  </a:lnTo>
                  <a:lnTo>
                    <a:pt x="908" y="483"/>
                  </a:lnTo>
                  <a:lnTo>
                    <a:pt x="1173" y="408"/>
                  </a:lnTo>
                  <a:lnTo>
                    <a:pt x="1260" y="330"/>
                  </a:lnTo>
                  <a:lnTo>
                    <a:pt x="1232" y="180"/>
                  </a:lnTo>
                  <a:lnTo>
                    <a:pt x="1342" y="94"/>
                  </a:lnTo>
                  <a:lnTo>
                    <a:pt x="1401" y="66"/>
                  </a:lnTo>
                  <a:lnTo>
                    <a:pt x="1421" y="0"/>
                  </a:lnTo>
                  <a:lnTo>
                    <a:pt x="1768" y="0"/>
                  </a:lnTo>
                  <a:lnTo>
                    <a:pt x="1996" y="220"/>
                  </a:lnTo>
                  <a:lnTo>
                    <a:pt x="2402" y="342"/>
                  </a:lnTo>
                  <a:lnTo>
                    <a:pt x="2402" y="342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14" name="Freeform 23">
              <a:extLst>
                <a:ext uri="{FF2B5EF4-FFF2-40B4-BE49-F238E27FC236}">
                  <a16:creationId xmlns:a16="http://schemas.microsoft.com/office/drawing/2014/main" id="{5B58E649-19F1-4B2D-A377-4B19CBA72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990600" y="2149658"/>
              <a:ext cx="1024787" cy="437815"/>
            </a:xfrm>
            <a:custGeom>
              <a:avLst/>
              <a:gdLst/>
              <a:ahLst/>
              <a:cxnLst>
                <a:cxn ang="0">
                  <a:pos x="3166" y="1037"/>
                </a:cxn>
                <a:cxn ang="0">
                  <a:pos x="2759" y="859"/>
                </a:cxn>
                <a:cxn ang="0">
                  <a:pos x="1513" y="350"/>
                </a:cxn>
                <a:cxn ang="0">
                  <a:pos x="520" y="169"/>
                </a:cxn>
                <a:cxn ang="0">
                  <a:pos x="98" y="0"/>
                </a:cxn>
                <a:cxn ang="0">
                  <a:pos x="99" y="0"/>
                </a:cxn>
                <a:cxn ang="0">
                  <a:pos x="94" y="141"/>
                </a:cxn>
                <a:cxn ang="0">
                  <a:pos x="15" y="181"/>
                </a:cxn>
                <a:cxn ang="0">
                  <a:pos x="0" y="264"/>
                </a:cxn>
                <a:cxn ang="0">
                  <a:pos x="129" y="358"/>
                </a:cxn>
                <a:cxn ang="0">
                  <a:pos x="94" y="405"/>
                </a:cxn>
                <a:cxn ang="0">
                  <a:pos x="189" y="527"/>
                </a:cxn>
                <a:cxn ang="0">
                  <a:pos x="311" y="689"/>
                </a:cxn>
                <a:cxn ang="0">
                  <a:pos x="440" y="823"/>
                </a:cxn>
                <a:cxn ang="0">
                  <a:pos x="481" y="937"/>
                </a:cxn>
                <a:cxn ang="0">
                  <a:pos x="406" y="1039"/>
                </a:cxn>
                <a:cxn ang="0">
                  <a:pos x="425" y="1059"/>
                </a:cxn>
                <a:cxn ang="0">
                  <a:pos x="772" y="1079"/>
                </a:cxn>
                <a:cxn ang="0">
                  <a:pos x="906" y="1303"/>
                </a:cxn>
                <a:cxn ang="0">
                  <a:pos x="1162" y="1296"/>
                </a:cxn>
                <a:cxn ang="0">
                  <a:pos x="1501" y="1019"/>
                </a:cxn>
                <a:cxn ang="0">
                  <a:pos x="1548" y="1095"/>
                </a:cxn>
                <a:cxn ang="0">
                  <a:pos x="1521" y="1201"/>
                </a:cxn>
                <a:cxn ang="0">
                  <a:pos x="1569" y="1701"/>
                </a:cxn>
                <a:cxn ang="0">
                  <a:pos x="1662" y="1740"/>
                </a:cxn>
                <a:cxn ang="0">
                  <a:pos x="1805" y="1674"/>
                </a:cxn>
                <a:cxn ang="0">
                  <a:pos x="2021" y="1653"/>
                </a:cxn>
                <a:cxn ang="0">
                  <a:pos x="2317" y="1662"/>
                </a:cxn>
                <a:cxn ang="0">
                  <a:pos x="2373" y="1709"/>
                </a:cxn>
                <a:cxn ang="0">
                  <a:pos x="2541" y="1634"/>
                </a:cxn>
                <a:cxn ang="0">
                  <a:pos x="2648" y="1492"/>
                </a:cxn>
                <a:cxn ang="0">
                  <a:pos x="2790" y="1485"/>
                </a:cxn>
                <a:cxn ang="0">
                  <a:pos x="2837" y="1417"/>
                </a:cxn>
                <a:cxn ang="0">
                  <a:pos x="3073" y="1257"/>
                </a:cxn>
                <a:cxn ang="0">
                  <a:pos x="3331" y="1110"/>
                </a:cxn>
                <a:cxn ang="0">
                  <a:pos x="3166" y="1037"/>
                </a:cxn>
                <a:cxn ang="0">
                  <a:pos x="3166" y="1037"/>
                </a:cxn>
              </a:cxnLst>
              <a:rect l="0" t="0" r="r" b="b"/>
              <a:pathLst>
                <a:path w="3331" h="1740">
                  <a:moveTo>
                    <a:pt x="3166" y="1037"/>
                  </a:moveTo>
                  <a:lnTo>
                    <a:pt x="2759" y="859"/>
                  </a:lnTo>
                  <a:lnTo>
                    <a:pt x="1513" y="350"/>
                  </a:lnTo>
                  <a:lnTo>
                    <a:pt x="520" y="169"/>
                  </a:lnTo>
                  <a:lnTo>
                    <a:pt x="98" y="0"/>
                  </a:lnTo>
                  <a:lnTo>
                    <a:pt x="99" y="0"/>
                  </a:lnTo>
                  <a:lnTo>
                    <a:pt x="94" y="141"/>
                  </a:lnTo>
                  <a:lnTo>
                    <a:pt x="15" y="181"/>
                  </a:lnTo>
                  <a:lnTo>
                    <a:pt x="0" y="264"/>
                  </a:lnTo>
                  <a:lnTo>
                    <a:pt x="129" y="358"/>
                  </a:lnTo>
                  <a:lnTo>
                    <a:pt x="94" y="405"/>
                  </a:lnTo>
                  <a:lnTo>
                    <a:pt x="189" y="527"/>
                  </a:lnTo>
                  <a:lnTo>
                    <a:pt x="311" y="689"/>
                  </a:lnTo>
                  <a:lnTo>
                    <a:pt x="440" y="823"/>
                  </a:lnTo>
                  <a:lnTo>
                    <a:pt x="481" y="937"/>
                  </a:lnTo>
                  <a:lnTo>
                    <a:pt x="406" y="1039"/>
                  </a:lnTo>
                  <a:lnTo>
                    <a:pt x="425" y="1059"/>
                  </a:lnTo>
                  <a:lnTo>
                    <a:pt x="772" y="1079"/>
                  </a:lnTo>
                  <a:lnTo>
                    <a:pt x="906" y="1303"/>
                  </a:lnTo>
                  <a:lnTo>
                    <a:pt x="1162" y="1296"/>
                  </a:lnTo>
                  <a:lnTo>
                    <a:pt x="1501" y="1019"/>
                  </a:lnTo>
                  <a:lnTo>
                    <a:pt x="1548" y="1095"/>
                  </a:lnTo>
                  <a:lnTo>
                    <a:pt x="1521" y="1201"/>
                  </a:lnTo>
                  <a:lnTo>
                    <a:pt x="1569" y="1701"/>
                  </a:lnTo>
                  <a:lnTo>
                    <a:pt x="1662" y="1740"/>
                  </a:lnTo>
                  <a:lnTo>
                    <a:pt x="1805" y="1674"/>
                  </a:lnTo>
                  <a:lnTo>
                    <a:pt x="2021" y="1653"/>
                  </a:lnTo>
                  <a:lnTo>
                    <a:pt x="2317" y="1662"/>
                  </a:lnTo>
                  <a:lnTo>
                    <a:pt x="2373" y="1709"/>
                  </a:lnTo>
                  <a:lnTo>
                    <a:pt x="2541" y="1634"/>
                  </a:lnTo>
                  <a:lnTo>
                    <a:pt x="2648" y="1492"/>
                  </a:lnTo>
                  <a:lnTo>
                    <a:pt x="2790" y="1485"/>
                  </a:lnTo>
                  <a:lnTo>
                    <a:pt x="2837" y="1417"/>
                  </a:lnTo>
                  <a:lnTo>
                    <a:pt x="3073" y="1257"/>
                  </a:lnTo>
                  <a:lnTo>
                    <a:pt x="3331" y="1110"/>
                  </a:lnTo>
                  <a:lnTo>
                    <a:pt x="3166" y="1037"/>
                  </a:lnTo>
                  <a:lnTo>
                    <a:pt x="3166" y="103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15" name="Freeform 24">
              <a:extLst>
                <a:ext uri="{FF2B5EF4-FFF2-40B4-BE49-F238E27FC236}">
                  <a16:creationId xmlns:a16="http://schemas.microsoft.com/office/drawing/2014/main" id="{261B60F2-D684-4D16-AE9F-5BEA6E961B7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10472" y="1023848"/>
              <a:ext cx="2353320" cy="1389889"/>
            </a:xfrm>
            <a:custGeom>
              <a:avLst/>
              <a:gdLst/>
              <a:ahLst/>
              <a:cxnLst>
                <a:cxn ang="0">
                  <a:pos x="2855" y="605"/>
                </a:cxn>
                <a:cxn ang="0">
                  <a:pos x="2672" y="190"/>
                </a:cxn>
                <a:cxn ang="0">
                  <a:pos x="2351" y="284"/>
                </a:cxn>
                <a:cxn ang="0">
                  <a:pos x="2276" y="352"/>
                </a:cxn>
                <a:cxn ang="0">
                  <a:pos x="2181" y="407"/>
                </a:cxn>
                <a:cxn ang="0">
                  <a:pos x="1599" y="685"/>
                </a:cxn>
                <a:cxn ang="0">
                  <a:pos x="1837" y="731"/>
                </a:cxn>
                <a:cxn ang="0">
                  <a:pos x="1857" y="890"/>
                </a:cxn>
                <a:cxn ang="0">
                  <a:pos x="1517" y="950"/>
                </a:cxn>
                <a:cxn ang="0">
                  <a:pos x="1722" y="1452"/>
                </a:cxn>
                <a:cxn ang="0">
                  <a:pos x="1809" y="1716"/>
                </a:cxn>
                <a:cxn ang="0">
                  <a:pos x="1592" y="3094"/>
                </a:cxn>
                <a:cxn ang="0">
                  <a:pos x="1437" y="3085"/>
                </a:cxn>
                <a:cxn ang="0">
                  <a:pos x="1172" y="3201"/>
                </a:cxn>
                <a:cxn ang="0">
                  <a:pos x="336" y="3616"/>
                </a:cxn>
                <a:cxn ang="0">
                  <a:pos x="222" y="3995"/>
                </a:cxn>
                <a:cxn ang="0">
                  <a:pos x="4" y="4403"/>
                </a:cxn>
                <a:cxn ang="0">
                  <a:pos x="0" y="4490"/>
                </a:cxn>
                <a:cxn ang="0">
                  <a:pos x="1421" y="4842"/>
                </a:cxn>
                <a:cxn ang="0">
                  <a:pos x="3081" y="5533"/>
                </a:cxn>
                <a:cxn ang="0">
                  <a:pos x="3464" y="5318"/>
                </a:cxn>
                <a:cxn ang="0">
                  <a:pos x="3785" y="5289"/>
                </a:cxn>
                <a:cxn ang="0">
                  <a:pos x="3995" y="5127"/>
                </a:cxn>
                <a:cxn ang="0">
                  <a:pos x="4346" y="4973"/>
                </a:cxn>
                <a:cxn ang="0">
                  <a:pos x="4430" y="4736"/>
                </a:cxn>
                <a:cxn ang="0">
                  <a:pos x="4510" y="4641"/>
                </a:cxn>
                <a:cxn ang="0">
                  <a:pos x="5087" y="4862"/>
                </a:cxn>
                <a:cxn ang="0">
                  <a:pos x="6805" y="4917"/>
                </a:cxn>
                <a:cxn ang="0">
                  <a:pos x="6846" y="4546"/>
                </a:cxn>
                <a:cxn ang="0">
                  <a:pos x="6942" y="4273"/>
                </a:cxn>
                <a:cxn ang="0">
                  <a:pos x="7150" y="3248"/>
                </a:cxn>
                <a:cxn ang="0">
                  <a:pos x="7537" y="1887"/>
                </a:cxn>
                <a:cxn ang="0">
                  <a:pos x="7206" y="1737"/>
                </a:cxn>
                <a:cxn ang="0">
                  <a:pos x="6607" y="1242"/>
                </a:cxn>
                <a:cxn ang="0">
                  <a:pos x="6160" y="874"/>
                </a:cxn>
                <a:cxn ang="0">
                  <a:pos x="6010" y="1044"/>
                </a:cxn>
                <a:cxn ang="0">
                  <a:pos x="5875" y="1289"/>
                </a:cxn>
                <a:cxn ang="0">
                  <a:pos x="5602" y="1262"/>
                </a:cxn>
                <a:cxn ang="0">
                  <a:pos x="5365" y="1310"/>
                </a:cxn>
                <a:cxn ang="0">
                  <a:pos x="5238" y="1614"/>
                </a:cxn>
                <a:cxn ang="0">
                  <a:pos x="4906" y="1310"/>
                </a:cxn>
                <a:cxn ang="0">
                  <a:pos x="4964" y="1159"/>
                </a:cxn>
                <a:cxn ang="0">
                  <a:pos x="4660" y="150"/>
                </a:cxn>
                <a:cxn ang="0">
                  <a:pos x="4489" y="75"/>
                </a:cxn>
                <a:cxn ang="0">
                  <a:pos x="4193" y="332"/>
                </a:cxn>
                <a:cxn ang="0">
                  <a:pos x="4034" y="415"/>
                </a:cxn>
                <a:cxn ang="0">
                  <a:pos x="3730" y="589"/>
                </a:cxn>
                <a:cxn ang="0">
                  <a:pos x="3547" y="815"/>
                </a:cxn>
                <a:cxn ang="0">
                  <a:pos x="3512" y="673"/>
                </a:cxn>
                <a:cxn ang="0">
                  <a:pos x="3349" y="740"/>
                </a:cxn>
                <a:cxn ang="0">
                  <a:pos x="2921" y="589"/>
                </a:cxn>
              </a:cxnLst>
              <a:rect l="0" t="0" r="r" b="b"/>
              <a:pathLst>
                <a:path w="7653" h="5533">
                  <a:moveTo>
                    <a:pt x="2921" y="589"/>
                  </a:moveTo>
                  <a:lnTo>
                    <a:pt x="2855" y="605"/>
                  </a:lnTo>
                  <a:lnTo>
                    <a:pt x="2712" y="237"/>
                  </a:lnTo>
                  <a:lnTo>
                    <a:pt x="2672" y="190"/>
                  </a:lnTo>
                  <a:lnTo>
                    <a:pt x="2466" y="368"/>
                  </a:lnTo>
                  <a:lnTo>
                    <a:pt x="2351" y="284"/>
                  </a:lnTo>
                  <a:lnTo>
                    <a:pt x="2304" y="284"/>
                  </a:lnTo>
                  <a:lnTo>
                    <a:pt x="2276" y="352"/>
                  </a:lnTo>
                  <a:lnTo>
                    <a:pt x="2292" y="368"/>
                  </a:lnTo>
                  <a:lnTo>
                    <a:pt x="2181" y="407"/>
                  </a:lnTo>
                  <a:lnTo>
                    <a:pt x="1611" y="427"/>
                  </a:lnTo>
                  <a:lnTo>
                    <a:pt x="1599" y="685"/>
                  </a:lnTo>
                  <a:lnTo>
                    <a:pt x="1706" y="712"/>
                  </a:lnTo>
                  <a:lnTo>
                    <a:pt x="1837" y="731"/>
                  </a:lnTo>
                  <a:lnTo>
                    <a:pt x="1884" y="835"/>
                  </a:lnTo>
                  <a:lnTo>
                    <a:pt x="1857" y="890"/>
                  </a:lnTo>
                  <a:lnTo>
                    <a:pt x="1715" y="862"/>
                  </a:lnTo>
                  <a:lnTo>
                    <a:pt x="1517" y="950"/>
                  </a:lnTo>
                  <a:lnTo>
                    <a:pt x="1524" y="1281"/>
                  </a:lnTo>
                  <a:lnTo>
                    <a:pt x="1722" y="1452"/>
                  </a:lnTo>
                  <a:lnTo>
                    <a:pt x="1722" y="1586"/>
                  </a:lnTo>
                  <a:lnTo>
                    <a:pt x="1809" y="1716"/>
                  </a:lnTo>
                  <a:lnTo>
                    <a:pt x="1659" y="2964"/>
                  </a:lnTo>
                  <a:lnTo>
                    <a:pt x="1592" y="3094"/>
                  </a:lnTo>
                  <a:lnTo>
                    <a:pt x="1551" y="3161"/>
                  </a:lnTo>
                  <a:lnTo>
                    <a:pt x="1437" y="3085"/>
                  </a:lnTo>
                  <a:lnTo>
                    <a:pt x="1232" y="3106"/>
                  </a:lnTo>
                  <a:lnTo>
                    <a:pt x="1172" y="3201"/>
                  </a:lnTo>
                  <a:lnTo>
                    <a:pt x="764" y="3304"/>
                  </a:lnTo>
                  <a:lnTo>
                    <a:pt x="336" y="3616"/>
                  </a:lnTo>
                  <a:lnTo>
                    <a:pt x="329" y="3778"/>
                  </a:lnTo>
                  <a:lnTo>
                    <a:pt x="222" y="3995"/>
                  </a:lnTo>
                  <a:lnTo>
                    <a:pt x="242" y="4225"/>
                  </a:lnTo>
                  <a:lnTo>
                    <a:pt x="4" y="4403"/>
                  </a:lnTo>
                  <a:lnTo>
                    <a:pt x="1" y="4490"/>
                  </a:lnTo>
                  <a:lnTo>
                    <a:pt x="0" y="4490"/>
                  </a:lnTo>
                  <a:lnTo>
                    <a:pt x="423" y="4661"/>
                  </a:lnTo>
                  <a:lnTo>
                    <a:pt x="1421" y="4842"/>
                  </a:lnTo>
                  <a:lnTo>
                    <a:pt x="2672" y="5353"/>
                  </a:lnTo>
                  <a:lnTo>
                    <a:pt x="3081" y="5533"/>
                  </a:lnTo>
                  <a:lnTo>
                    <a:pt x="3338" y="5325"/>
                  </a:lnTo>
                  <a:lnTo>
                    <a:pt x="3464" y="5318"/>
                  </a:lnTo>
                  <a:lnTo>
                    <a:pt x="3595" y="5364"/>
                  </a:lnTo>
                  <a:lnTo>
                    <a:pt x="3785" y="5289"/>
                  </a:lnTo>
                  <a:lnTo>
                    <a:pt x="3872" y="5289"/>
                  </a:lnTo>
                  <a:lnTo>
                    <a:pt x="3995" y="5127"/>
                  </a:lnTo>
                  <a:lnTo>
                    <a:pt x="4259" y="5052"/>
                  </a:lnTo>
                  <a:lnTo>
                    <a:pt x="4346" y="4973"/>
                  </a:lnTo>
                  <a:lnTo>
                    <a:pt x="4319" y="4823"/>
                  </a:lnTo>
                  <a:lnTo>
                    <a:pt x="4430" y="4736"/>
                  </a:lnTo>
                  <a:lnTo>
                    <a:pt x="4489" y="4708"/>
                  </a:lnTo>
                  <a:lnTo>
                    <a:pt x="4510" y="4641"/>
                  </a:lnTo>
                  <a:lnTo>
                    <a:pt x="4858" y="4641"/>
                  </a:lnTo>
                  <a:lnTo>
                    <a:pt x="5087" y="4862"/>
                  </a:lnTo>
                  <a:lnTo>
                    <a:pt x="5495" y="4985"/>
                  </a:lnTo>
                  <a:lnTo>
                    <a:pt x="6805" y="4917"/>
                  </a:lnTo>
                  <a:lnTo>
                    <a:pt x="6846" y="4708"/>
                  </a:lnTo>
                  <a:lnTo>
                    <a:pt x="6846" y="4546"/>
                  </a:lnTo>
                  <a:lnTo>
                    <a:pt x="6853" y="4451"/>
                  </a:lnTo>
                  <a:lnTo>
                    <a:pt x="6942" y="4273"/>
                  </a:lnTo>
                  <a:lnTo>
                    <a:pt x="6817" y="4043"/>
                  </a:lnTo>
                  <a:lnTo>
                    <a:pt x="7150" y="3248"/>
                  </a:lnTo>
                  <a:lnTo>
                    <a:pt x="7653" y="1982"/>
                  </a:lnTo>
                  <a:lnTo>
                    <a:pt x="7537" y="1887"/>
                  </a:lnTo>
                  <a:lnTo>
                    <a:pt x="7312" y="1737"/>
                  </a:lnTo>
                  <a:lnTo>
                    <a:pt x="7206" y="1737"/>
                  </a:lnTo>
                  <a:lnTo>
                    <a:pt x="6912" y="1697"/>
                  </a:lnTo>
                  <a:lnTo>
                    <a:pt x="6607" y="1242"/>
                  </a:lnTo>
                  <a:lnTo>
                    <a:pt x="6564" y="850"/>
                  </a:lnTo>
                  <a:lnTo>
                    <a:pt x="6160" y="874"/>
                  </a:lnTo>
                  <a:lnTo>
                    <a:pt x="6030" y="950"/>
                  </a:lnTo>
                  <a:lnTo>
                    <a:pt x="6010" y="1044"/>
                  </a:lnTo>
                  <a:lnTo>
                    <a:pt x="5903" y="1127"/>
                  </a:lnTo>
                  <a:lnTo>
                    <a:pt x="5875" y="1289"/>
                  </a:lnTo>
                  <a:lnTo>
                    <a:pt x="5745" y="1365"/>
                  </a:lnTo>
                  <a:lnTo>
                    <a:pt x="5602" y="1262"/>
                  </a:lnTo>
                  <a:lnTo>
                    <a:pt x="5515" y="1223"/>
                  </a:lnTo>
                  <a:lnTo>
                    <a:pt x="5365" y="1310"/>
                  </a:lnTo>
                  <a:lnTo>
                    <a:pt x="5305" y="1566"/>
                  </a:lnTo>
                  <a:lnTo>
                    <a:pt x="5238" y="1614"/>
                  </a:lnTo>
                  <a:lnTo>
                    <a:pt x="4889" y="1329"/>
                  </a:lnTo>
                  <a:lnTo>
                    <a:pt x="4906" y="1310"/>
                  </a:lnTo>
                  <a:lnTo>
                    <a:pt x="4945" y="1281"/>
                  </a:lnTo>
                  <a:lnTo>
                    <a:pt x="4964" y="1159"/>
                  </a:lnTo>
                  <a:lnTo>
                    <a:pt x="4897" y="598"/>
                  </a:lnTo>
                  <a:lnTo>
                    <a:pt x="4660" y="150"/>
                  </a:lnTo>
                  <a:lnTo>
                    <a:pt x="4510" y="0"/>
                  </a:lnTo>
                  <a:lnTo>
                    <a:pt x="4489" y="75"/>
                  </a:lnTo>
                  <a:lnTo>
                    <a:pt x="4204" y="245"/>
                  </a:lnTo>
                  <a:lnTo>
                    <a:pt x="4193" y="332"/>
                  </a:lnTo>
                  <a:lnTo>
                    <a:pt x="4097" y="463"/>
                  </a:lnTo>
                  <a:lnTo>
                    <a:pt x="4034" y="415"/>
                  </a:lnTo>
                  <a:lnTo>
                    <a:pt x="3919" y="511"/>
                  </a:lnTo>
                  <a:lnTo>
                    <a:pt x="3730" y="589"/>
                  </a:lnTo>
                  <a:lnTo>
                    <a:pt x="3710" y="644"/>
                  </a:lnTo>
                  <a:lnTo>
                    <a:pt x="3547" y="815"/>
                  </a:lnTo>
                  <a:lnTo>
                    <a:pt x="3500" y="795"/>
                  </a:lnTo>
                  <a:lnTo>
                    <a:pt x="3512" y="673"/>
                  </a:lnTo>
                  <a:lnTo>
                    <a:pt x="3472" y="664"/>
                  </a:lnTo>
                  <a:lnTo>
                    <a:pt x="3349" y="740"/>
                  </a:lnTo>
                  <a:lnTo>
                    <a:pt x="3227" y="787"/>
                  </a:lnTo>
                  <a:lnTo>
                    <a:pt x="2921" y="589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16" name="Freeform 25">
              <a:extLst>
                <a:ext uri="{FF2B5EF4-FFF2-40B4-BE49-F238E27FC236}">
                  <a16:creationId xmlns:a16="http://schemas.microsoft.com/office/drawing/2014/main" id="{92C8BE4F-6AF2-4F2D-B97E-96E862A25EE7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3729" y="778301"/>
              <a:ext cx="672782" cy="613868"/>
            </a:xfrm>
            <a:custGeom>
              <a:avLst/>
              <a:gdLst/>
              <a:ahLst/>
              <a:cxnLst>
                <a:cxn ang="0">
                  <a:pos x="115" y="910"/>
                </a:cxn>
                <a:cxn ang="0">
                  <a:pos x="0" y="901"/>
                </a:cxn>
                <a:cxn ang="0">
                  <a:pos x="0" y="1024"/>
                </a:cxn>
                <a:cxn ang="0">
                  <a:pos x="28" y="1099"/>
                </a:cxn>
                <a:cxn ang="0">
                  <a:pos x="150" y="1119"/>
                </a:cxn>
                <a:cxn ang="0">
                  <a:pos x="313" y="1234"/>
                </a:cxn>
                <a:cxn ang="0">
                  <a:pos x="542" y="1309"/>
                </a:cxn>
                <a:cxn ang="0">
                  <a:pos x="590" y="1415"/>
                </a:cxn>
                <a:cxn ang="0">
                  <a:pos x="733" y="1586"/>
                </a:cxn>
                <a:cxn ang="0">
                  <a:pos x="721" y="1681"/>
                </a:cxn>
                <a:cxn ang="0">
                  <a:pos x="800" y="1966"/>
                </a:cxn>
                <a:cxn ang="0">
                  <a:pos x="911" y="2021"/>
                </a:cxn>
                <a:cxn ang="0">
                  <a:pos x="950" y="2096"/>
                </a:cxn>
                <a:cxn ang="0">
                  <a:pos x="1064" y="2366"/>
                </a:cxn>
                <a:cxn ang="0">
                  <a:pos x="1303" y="2441"/>
                </a:cxn>
                <a:cxn ang="0">
                  <a:pos x="1385" y="2373"/>
                </a:cxn>
                <a:cxn ang="0">
                  <a:pos x="1433" y="2238"/>
                </a:cxn>
                <a:cxn ang="0">
                  <a:pos x="1472" y="2183"/>
                </a:cxn>
                <a:cxn ang="0">
                  <a:pos x="1595" y="2081"/>
                </a:cxn>
                <a:cxn ang="0">
                  <a:pos x="1588" y="1973"/>
                </a:cxn>
                <a:cxn ang="0">
                  <a:pos x="1832" y="1843"/>
                </a:cxn>
                <a:cxn ang="0">
                  <a:pos x="1967" y="1661"/>
                </a:cxn>
                <a:cxn ang="0">
                  <a:pos x="2177" y="1444"/>
                </a:cxn>
                <a:cxn ang="0">
                  <a:pos x="2185" y="1321"/>
                </a:cxn>
                <a:cxn ang="0">
                  <a:pos x="2129" y="1206"/>
                </a:cxn>
                <a:cxn ang="0">
                  <a:pos x="1919" y="1111"/>
                </a:cxn>
                <a:cxn ang="0">
                  <a:pos x="1853" y="1044"/>
                </a:cxn>
                <a:cxn ang="0">
                  <a:pos x="1825" y="957"/>
                </a:cxn>
                <a:cxn ang="0">
                  <a:pos x="1766" y="826"/>
                </a:cxn>
                <a:cxn ang="0">
                  <a:pos x="1595" y="133"/>
                </a:cxn>
                <a:cxn ang="0">
                  <a:pos x="1445" y="0"/>
                </a:cxn>
                <a:cxn ang="0">
                  <a:pos x="1397" y="94"/>
                </a:cxn>
                <a:cxn ang="0">
                  <a:pos x="1358" y="189"/>
                </a:cxn>
                <a:cxn ang="0">
                  <a:pos x="1228" y="360"/>
                </a:cxn>
                <a:cxn ang="0">
                  <a:pos x="970" y="846"/>
                </a:cxn>
                <a:cxn ang="0">
                  <a:pos x="855" y="957"/>
                </a:cxn>
                <a:cxn ang="0">
                  <a:pos x="733" y="988"/>
                </a:cxn>
                <a:cxn ang="0">
                  <a:pos x="645" y="922"/>
                </a:cxn>
                <a:cxn ang="0">
                  <a:pos x="542" y="941"/>
                </a:cxn>
                <a:cxn ang="0">
                  <a:pos x="447" y="910"/>
                </a:cxn>
                <a:cxn ang="0">
                  <a:pos x="360" y="957"/>
                </a:cxn>
                <a:cxn ang="0">
                  <a:pos x="218" y="988"/>
                </a:cxn>
                <a:cxn ang="0">
                  <a:pos x="115" y="910"/>
                </a:cxn>
              </a:cxnLst>
              <a:rect l="0" t="0" r="r" b="b"/>
              <a:pathLst>
                <a:path w="2185" h="2441">
                  <a:moveTo>
                    <a:pt x="115" y="910"/>
                  </a:moveTo>
                  <a:lnTo>
                    <a:pt x="0" y="901"/>
                  </a:lnTo>
                  <a:lnTo>
                    <a:pt x="0" y="1024"/>
                  </a:lnTo>
                  <a:lnTo>
                    <a:pt x="28" y="1099"/>
                  </a:lnTo>
                  <a:lnTo>
                    <a:pt x="150" y="1119"/>
                  </a:lnTo>
                  <a:lnTo>
                    <a:pt x="313" y="1234"/>
                  </a:lnTo>
                  <a:lnTo>
                    <a:pt x="542" y="1309"/>
                  </a:lnTo>
                  <a:lnTo>
                    <a:pt x="590" y="1415"/>
                  </a:lnTo>
                  <a:lnTo>
                    <a:pt x="733" y="1586"/>
                  </a:lnTo>
                  <a:lnTo>
                    <a:pt x="721" y="1681"/>
                  </a:lnTo>
                  <a:lnTo>
                    <a:pt x="800" y="1966"/>
                  </a:lnTo>
                  <a:lnTo>
                    <a:pt x="911" y="2021"/>
                  </a:lnTo>
                  <a:lnTo>
                    <a:pt x="950" y="2096"/>
                  </a:lnTo>
                  <a:lnTo>
                    <a:pt x="1064" y="2366"/>
                  </a:lnTo>
                  <a:lnTo>
                    <a:pt x="1303" y="2441"/>
                  </a:lnTo>
                  <a:lnTo>
                    <a:pt x="1385" y="2373"/>
                  </a:lnTo>
                  <a:lnTo>
                    <a:pt x="1433" y="2238"/>
                  </a:lnTo>
                  <a:lnTo>
                    <a:pt x="1472" y="2183"/>
                  </a:lnTo>
                  <a:lnTo>
                    <a:pt x="1595" y="2081"/>
                  </a:lnTo>
                  <a:lnTo>
                    <a:pt x="1588" y="1973"/>
                  </a:lnTo>
                  <a:lnTo>
                    <a:pt x="1832" y="1843"/>
                  </a:lnTo>
                  <a:lnTo>
                    <a:pt x="1967" y="1661"/>
                  </a:lnTo>
                  <a:lnTo>
                    <a:pt x="2177" y="1444"/>
                  </a:lnTo>
                  <a:lnTo>
                    <a:pt x="2185" y="1321"/>
                  </a:lnTo>
                  <a:lnTo>
                    <a:pt x="2129" y="1206"/>
                  </a:lnTo>
                  <a:lnTo>
                    <a:pt x="1919" y="1111"/>
                  </a:lnTo>
                  <a:lnTo>
                    <a:pt x="1853" y="1044"/>
                  </a:lnTo>
                  <a:lnTo>
                    <a:pt x="1825" y="957"/>
                  </a:lnTo>
                  <a:lnTo>
                    <a:pt x="1766" y="826"/>
                  </a:lnTo>
                  <a:lnTo>
                    <a:pt x="1595" y="133"/>
                  </a:lnTo>
                  <a:lnTo>
                    <a:pt x="1445" y="0"/>
                  </a:lnTo>
                  <a:lnTo>
                    <a:pt x="1397" y="94"/>
                  </a:lnTo>
                  <a:lnTo>
                    <a:pt x="1358" y="189"/>
                  </a:lnTo>
                  <a:lnTo>
                    <a:pt x="1228" y="360"/>
                  </a:lnTo>
                  <a:lnTo>
                    <a:pt x="970" y="846"/>
                  </a:lnTo>
                  <a:lnTo>
                    <a:pt x="855" y="957"/>
                  </a:lnTo>
                  <a:lnTo>
                    <a:pt x="733" y="988"/>
                  </a:lnTo>
                  <a:lnTo>
                    <a:pt x="645" y="922"/>
                  </a:lnTo>
                  <a:lnTo>
                    <a:pt x="542" y="941"/>
                  </a:lnTo>
                  <a:lnTo>
                    <a:pt x="447" y="910"/>
                  </a:lnTo>
                  <a:lnTo>
                    <a:pt x="360" y="957"/>
                  </a:lnTo>
                  <a:lnTo>
                    <a:pt x="218" y="988"/>
                  </a:lnTo>
                  <a:lnTo>
                    <a:pt x="115" y="91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17" name="Freeform 26">
              <a:extLst>
                <a:ext uri="{FF2B5EF4-FFF2-40B4-BE49-F238E27FC236}">
                  <a16:creationId xmlns:a16="http://schemas.microsoft.com/office/drawing/2014/main" id="{91372A2D-5825-4EEE-B595-D86887286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861885" y="2318761"/>
              <a:ext cx="403102" cy="183002"/>
            </a:xfrm>
            <a:custGeom>
              <a:avLst/>
              <a:gdLst/>
              <a:ahLst/>
              <a:cxnLst>
                <a:cxn ang="0">
                  <a:pos x="1303" y="75"/>
                </a:cxn>
                <a:cxn ang="0">
                  <a:pos x="943" y="55"/>
                </a:cxn>
                <a:cxn ang="0">
                  <a:pos x="800" y="169"/>
                </a:cxn>
                <a:cxn ang="0">
                  <a:pos x="488" y="197"/>
                </a:cxn>
                <a:cxn ang="0">
                  <a:pos x="413" y="142"/>
                </a:cxn>
                <a:cxn ang="0">
                  <a:pos x="191" y="0"/>
                </a:cxn>
                <a:cxn ang="0">
                  <a:pos x="0" y="142"/>
                </a:cxn>
                <a:cxn ang="0">
                  <a:pos x="68" y="256"/>
                </a:cxn>
                <a:cxn ang="0">
                  <a:pos x="555" y="549"/>
                </a:cxn>
                <a:cxn ang="0">
                  <a:pos x="740" y="735"/>
                </a:cxn>
                <a:cxn ang="0">
                  <a:pos x="740" y="735"/>
                </a:cxn>
                <a:cxn ang="0">
                  <a:pos x="1236" y="256"/>
                </a:cxn>
                <a:cxn ang="0">
                  <a:pos x="1303" y="75"/>
                </a:cxn>
              </a:cxnLst>
              <a:rect l="0" t="0" r="r" b="b"/>
              <a:pathLst>
                <a:path w="1303" h="735">
                  <a:moveTo>
                    <a:pt x="1303" y="75"/>
                  </a:moveTo>
                  <a:lnTo>
                    <a:pt x="943" y="55"/>
                  </a:lnTo>
                  <a:lnTo>
                    <a:pt x="800" y="169"/>
                  </a:lnTo>
                  <a:lnTo>
                    <a:pt x="488" y="197"/>
                  </a:lnTo>
                  <a:lnTo>
                    <a:pt x="413" y="142"/>
                  </a:lnTo>
                  <a:lnTo>
                    <a:pt x="191" y="0"/>
                  </a:lnTo>
                  <a:lnTo>
                    <a:pt x="0" y="142"/>
                  </a:lnTo>
                  <a:lnTo>
                    <a:pt x="68" y="256"/>
                  </a:lnTo>
                  <a:lnTo>
                    <a:pt x="555" y="549"/>
                  </a:lnTo>
                  <a:lnTo>
                    <a:pt x="740" y="735"/>
                  </a:lnTo>
                  <a:lnTo>
                    <a:pt x="740" y="735"/>
                  </a:lnTo>
                  <a:lnTo>
                    <a:pt x="1236" y="256"/>
                  </a:lnTo>
                  <a:lnTo>
                    <a:pt x="1303" y="75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18" name="Freeform 27">
              <a:extLst>
                <a:ext uri="{FF2B5EF4-FFF2-40B4-BE49-F238E27FC236}">
                  <a16:creationId xmlns:a16="http://schemas.microsoft.com/office/drawing/2014/main" id="{C9C5AC56-16F3-49FD-A3BE-D5B2EE57EF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2271" y="1992137"/>
              <a:ext cx="522329" cy="254812"/>
            </a:xfrm>
            <a:custGeom>
              <a:avLst/>
              <a:gdLst/>
              <a:ahLst/>
              <a:cxnLst>
                <a:cxn ang="0">
                  <a:pos x="1627" y="271"/>
                </a:cxn>
                <a:cxn ang="0">
                  <a:pos x="1418" y="258"/>
                </a:cxn>
                <a:cxn ang="0">
                  <a:pos x="1208" y="258"/>
                </a:cxn>
                <a:cxn ang="0">
                  <a:pos x="1053" y="163"/>
                </a:cxn>
                <a:cxn ang="0">
                  <a:pos x="990" y="210"/>
                </a:cxn>
                <a:cxn ang="0">
                  <a:pos x="943" y="408"/>
                </a:cxn>
                <a:cxn ang="0">
                  <a:pos x="884" y="427"/>
                </a:cxn>
                <a:cxn ang="0">
                  <a:pos x="828" y="352"/>
                </a:cxn>
                <a:cxn ang="0">
                  <a:pos x="674" y="345"/>
                </a:cxn>
                <a:cxn ang="0">
                  <a:pos x="579" y="297"/>
                </a:cxn>
                <a:cxn ang="0">
                  <a:pos x="579" y="229"/>
                </a:cxn>
                <a:cxn ang="0">
                  <a:pos x="674" y="67"/>
                </a:cxn>
                <a:cxn ang="0">
                  <a:pos x="674" y="12"/>
                </a:cxn>
                <a:cxn ang="0">
                  <a:pos x="645" y="0"/>
                </a:cxn>
                <a:cxn ang="0">
                  <a:pos x="420" y="76"/>
                </a:cxn>
                <a:cxn ang="0">
                  <a:pos x="294" y="190"/>
                </a:cxn>
                <a:cxn ang="0">
                  <a:pos x="87" y="147"/>
                </a:cxn>
                <a:cxn ang="0">
                  <a:pos x="0" y="408"/>
                </a:cxn>
                <a:cxn ang="0">
                  <a:pos x="87" y="562"/>
                </a:cxn>
                <a:cxn ang="0">
                  <a:pos x="0" y="693"/>
                </a:cxn>
                <a:cxn ang="0">
                  <a:pos x="56" y="752"/>
                </a:cxn>
                <a:cxn ang="0">
                  <a:pos x="143" y="740"/>
                </a:cxn>
                <a:cxn ang="0">
                  <a:pos x="210" y="799"/>
                </a:cxn>
                <a:cxn ang="0">
                  <a:pos x="372" y="733"/>
                </a:cxn>
                <a:cxn ang="0">
                  <a:pos x="626" y="550"/>
                </a:cxn>
                <a:cxn ang="0">
                  <a:pos x="741" y="590"/>
                </a:cxn>
                <a:cxn ang="0">
                  <a:pos x="780" y="630"/>
                </a:cxn>
                <a:cxn ang="0">
                  <a:pos x="618" y="855"/>
                </a:cxn>
                <a:cxn ang="0">
                  <a:pos x="705" y="962"/>
                </a:cxn>
                <a:cxn ang="0">
                  <a:pos x="722" y="1018"/>
                </a:cxn>
                <a:cxn ang="0">
                  <a:pos x="828" y="1018"/>
                </a:cxn>
                <a:cxn ang="0">
                  <a:pos x="943" y="895"/>
                </a:cxn>
                <a:cxn ang="0">
                  <a:pos x="1358" y="788"/>
                </a:cxn>
                <a:cxn ang="0">
                  <a:pos x="1481" y="677"/>
                </a:cxn>
                <a:cxn ang="0">
                  <a:pos x="1703" y="610"/>
                </a:cxn>
                <a:cxn ang="0">
                  <a:pos x="1627" y="271"/>
                </a:cxn>
              </a:cxnLst>
              <a:rect l="0" t="0" r="r" b="b"/>
              <a:pathLst>
                <a:path w="1703" h="1018">
                  <a:moveTo>
                    <a:pt x="1627" y="271"/>
                  </a:moveTo>
                  <a:lnTo>
                    <a:pt x="1418" y="258"/>
                  </a:lnTo>
                  <a:lnTo>
                    <a:pt x="1208" y="258"/>
                  </a:lnTo>
                  <a:lnTo>
                    <a:pt x="1053" y="163"/>
                  </a:lnTo>
                  <a:lnTo>
                    <a:pt x="990" y="210"/>
                  </a:lnTo>
                  <a:lnTo>
                    <a:pt x="943" y="408"/>
                  </a:lnTo>
                  <a:lnTo>
                    <a:pt x="884" y="427"/>
                  </a:lnTo>
                  <a:lnTo>
                    <a:pt x="828" y="352"/>
                  </a:lnTo>
                  <a:lnTo>
                    <a:pt x="674" y="345"/>
                  </a:lnTo>
                  <a:lnTo>
                    <a:pt x="579" y="297"/>
                  </a:lnTo>
                  <a:lnTo>
                    <a:pt x="579" y="229"/>
                  </a:lnTo>
                  <a:lnTo>
                    <a:pt x="674" y="67"/>
                  </a:lnTo>
                  <a:lnTo>
                    <a:pt x="674" y="12"/>
                  </a:lnTo>
                  <a:lnTo>
                    <a:pt x="645" y="0"/>
                  </a:lnTo>
                  <a:lnTo>
                    <a:pt x="420" y="76"/>
                  </a:lnTo>
                  <a:lnTo>
                    <a:pt x="294" y="190"/>
                  </a:lnTo>
                  <a:lnTo>
                    <a:pt x="87" y="147"/>
                  </a:lnTo>
                  <a:lnTo>
                    <a:pt x="0" y="408"/>
                  </a:lnTo>
                  <a:lnTo>
                    <a:pt x="87" y="562"/>
                  </a:lnTo>
                  <a:lnTo>
                    <a:pt x="0" y="693"/>
                  </a:lnTo>
                  <a:lnTo>
                    <a:pt x="56" y="752"/>
                  </a:lnTo>
                  <a:lnTo>
                    <a:pt x="143" y="740"/>
                  </a:lnTo>
                  <a:lnTo>
                    <a:pt x="210" y="799"/>
                  </a:lnTo>
                  <a:lnTo>
                    <a:pt x="372" y="733"/>
                  </a:lnTo>
                  <a:lnTo>
                    <a:pt x="626" y="550"/>
                  </a:lnTo>
                  <a:lnTo>
                    <a:pt x="741" y="590"/>
                  </a:lnTo>
                  <a:lnTo>
                    <a:pt x="780" y="630"/>
                  </a:lnTo>
                  <a:lnTo>
                    <a:pt x="618" y="855"/>
                  </a:lnTo>
                  <a:lnTo>
                    <a:pt x="705" y="962"/>
                  </a:lnTo>
                  <a:lnTo>
                    <a:pt x="722" y="1018"/>
                  </a:lnTo>
                  <a:lnTo>
                    <a:pt x="828" y="1018"/>
                  </a:lnTo>
                  <a:lnTo>
                    <a:pt x="943" y="895"/>
                  </a:lnTo>
                  <a:lnTo>
                    <a:pt x="1358" y="788"/>
                  </a:lnTo>
                  <a:lnTo>
                    <a:pt x="1481" y="677"/>
                  </a:lnTo>
                  <a:lnTo>
                    <a:pt x="1703" y="610"/>
                  </a:lnTo>
                  <a:lnTo>
                    <a:pt x="1627" y="271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19" name="Freeform 28">
              <a:extLst>
                <a:ext uri="{FF2B5EF4-FFF2-40B4-BE49-F238E27FC236}">
                  <a16:creationId xmlns:a16="http://schemas.microsoft.com/office/drawing/2014/main" id="{8946EC35-CA98-419B-8D82-FC37EB2EB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7427" y="1616867"/>
              <a:ext cx="545039" cy="572171"/>
            </a:xfrm>
            <a:custGeom>
              <a:avLst/>
              <a:gdLst/>
              <a:ahLst/>
              <a:cxnLst>
                <a:cxn ang="0">
                  <a:pos x="1766" y="932"/>
                </a:cxn>
                <a:cxn ang="0">
                  <a:pos x="1691" y="886"/>
                </a:cxn>
                <a:cxn ang="0">
                  <a:pos x="1481" y="648"/>
                </a:cxn>
                <a:cxn ang="0">
                  <a:pos x="884" y="174"/>
                </a:cxn>
                <a:cxn ang="0">
                  <a:pos x="495" y="0"/>
                </a:cxn>
                <a:cxn ang="0">
                  <a:pos x="40" y="39"/>
                </a:cxn>
                <a:cxn ang="0">
                  <a:pos x="0" y="162"/>
                </a:cxn>
                <a:cxn ang="0">
                  <a:pos x="40" y="221"/>
                </a:cxn>
                <a:cxn ang="0">
                  <a:pos x="9" y="269"/>
                </a:cxn>
                <a:cxn ang="0">
                  <a:pos x="123" y="590"/>
                </a:cxn>
                <a:cxn ang="0">
                  <a:pos x="68" y="744"/>
                </a:cxn>
                <a:cxn ang="0">
                  <a:pos x="87" y="839"/>
                </a:cxn>
                <a:cxn ang="0">
                  <a:pos x="123" y="1104"/>
                </a:cxn>
                <a:cxn ang="0">
                  <a:pos x="230" y="1587"/>
                </a:cxn>
                <a:cxn ang="0">
                  <a:pos x="381" y="1796"/>
                </a:cxn>
                <a:cxn ang="0">
                  <a:pos x="296" y="2025"/>
                </a:cxn>
                <a:cxn ang="0">
                  <a:pos x="780" y="2073"/>
                </a:cxn>
                <a:cxn ang="0">
                  <a:pos x="990" y="2279"/>
                </a:cxn>
                <a:cxn ang="0">
                  <a:pos x="1140" y="2184"/>
                </a:cxn>
                <a:cxn ang="0">
                  <a:pos x="1227" y="2053"/>
                </a:cxn>
                <a:cxn ang="0">
                  <a:pos x="1140" y="1899"/>
                </a:cxn>
                <a:cxn ang="0">
                  <a:pos x="1227" y="1638"/>
                </a:cxn>
                <a:cxn ang="0">
                  <a:pos x="1275" y="1491"/>
                </a:cxn>
                <a:cxn ang="0">
                  <a:pos x="1350" y="1491"/>
                </a:cxn>
                <a:cxn ang="0">
                  <a:pos x="1560" y="1151"/>
                </a:cxn>
                <a:cxn ang="0">
                  <a:pos x="1766" y="933"/>
                </a:cxn>
                <a:cxn ang="0">
                  <a:pos x="1766" y="932"/>
                </a:cxn>
              </a:cxnLst>
              <a:rect l="0" t="0" r="r" b="b"/>
              <a:pathLst>
                <a:path w="1766" h="2279">
                  <a:moveTo>
                    <a:pt x="1766" y="932"/>
                  </a:moveTo>
                  <a:lnTo>
                    <a:pt x="1691" y="886"/>
                  </a:lnTo>
                  <a:lnTo>
                    <a:pt x="1481" y="648"/>
                  </a:lnTo>
                  <a:lnTo>
                    <a:pt x="884" y="174"/>
                  </a:lnTo>
                  <a:lnTo>
                    <a:pt x="495" y="0"/>
                  </a:lnTo>
                  <a:lnTo>
                    <a:pt x="40" y="39"/>
                  </a:lnTo>
                  <a:lnTo>
                    <a:pt x="0" y="162"/>
                  </a:lnTo>
                  <a:lnTo>
                    <a:pt x="40" y="221"/>
                  </a:lnTo>
                  <a:lnTo>
                    <a:pt x="9" y="269"/>
                  </a:lnTo>
                  <a:lnTo>
                    <a:pt x="123" y="590"/>
                  </a:lnTo>
                  <a:lnTo>
                    <a:pt x="68" y="744"/>
                  </a:lnTo>
                  <a:lnTo>
                    <a:pt x="87" y="839"/>
                  </a:lnTo>
                  <a:lnTo>
                    <a:pt x="123" y="1104"/>
                  </a:lnTo>
                  <a:lnTo>
                    <a:pt x="230" y="1587"/>
                  </a:lnTo>
                  <a:lnTo>
                    <a:pt x="381" y="1796"/>
                  </a:lnTo>
                  <a:lnTo>
                    <a:pt x="296" y="2025"/>
                  </a:lnTo>
                  <a:lnTo>
                    <a:pt x="780" y="2073"/>
                  </a:lnTo>
                  <a:lnTo>
                    <a:pt x="990" y="2279"/>
                  </a:lnTo>
                  <a:lnTo>
                    <a:pt x="1140" y="2184"/>
                  </a:lnTo>
                  <a:lnTo>
                    <a:pt x="1227" y="2053"/>
                  </a:lnTo>
                  <a:lnTo>
                    <a:pt x="1140" y="1899"/>
                  </a:lnTo>
                  <a:lnTo>
                    <a:pt x="1227" y="1638"/>
                  </a:lnTo>
                  <a:lnTo>
                    <a:pt x="1275" y="1491"/>
                  </a:lnTo>
                  <a:lnTo>
                    <a:pt x="1350" y="1491"/>
                  </a:lnTo>
                  <a:lnTo>
                    <a:pt x="1560" y="1151"/>
                  </a:lnTo>
                  <a:lnTo>
                    <a:pt x="1766" y="933"/>
                  </a:lnTo>
                  <a:lnTo>
                    <a:pt x="1766" y="932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20" name="Freeform 29">
              <a:extLst>
                <a:ext uri="{FF2B5EF4-FFF2-40B4-BE49-F238E27FC236}">
                  <a16:creationId xmlns:a16="http://schemas.microsoft.com/office/drawing/2014/main" id="{EFA9F3F8-40FB-45C3-A818-5BAF8BC93C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727148" y="4197427"/>
              <a:ext cx="658589" cy="375270"/>
            </a:xfrm>
            <a:custGeom>
              <a:avLst/>
              <a:gdLst/>
              <a:ahLst/>
              <a:cxnLst>
                <a:cxn ang="0">
                  <a:pos x="0" y="514"/>
                </a:cxn>
                <a:cxn ang="0">
                  <a:pos x="47" y="364"/>
                </a:cxn>
                <a:cxn ang="0">
                  <a:pos x="53" y="115"/>
                </a:cxn>
                <a:cxn ang="0">
                  <a:pos x="212" y="127"/>
                </a:cxn>
                <a:cxn ang="0">
                  <a:pos x="497" y="162"/>
                </a:cxn>
                <a:cxn ang="0">
                  <a:pos x="685" y="229"/>
                </a:cxn>
                <a:cxn ang="0">
                  <a:pos x="950" y="296"/>
                </a:cxn>
                <a:cxn ang="0">
                  <a:pos x="1018" y="257"/>
                </a:cxn>
                <a:cxn ang="0">
                  <a:pos x="1018" y="182"/>
                </a:cxn>
                <a:cxn ang="0">
                  <a:pos x="1054" y="127"/>
                </a:cxn>
                <a:cxn ang="0">
                  <a:pos x="1216" y="106"/>
                </a:cxn>
                <a:cxn ang="0">
                  <a:pos x="1310" y="11"/>
                </a:cxn>
                <a:cxn ang="0">
                  <a:pos x="1406" y="31"/>
                </a:cxn>
                <a:cxn ang="0">
                  <a:pos x="1528" y="0"/>
                </a:cxn>
                <a:cxn ang="0">
                  <a:pos x="1643" y="39"/>
                </a:cxn>
                <a:cxn ang="0">
                  <a:pos x="1730" y="94"/>
                </a:cxn>
                <a:cxn ang="0">
                  <a:pos x="1996" y="11"/>
                </a:cxn>
                <a:cxn ang="0">
                  <a:pos x="2129" y="35"/>
                </a:cxn>
                <a:cxn ang="0">
                  <a:pos x="2127" y="35"/>
                </a:cxn>
                <a:cxn ang="0">
                  <a:pos x="2110" y="94"/>
                </a:cxn>
                <a:cxn ang="0">
                  <a:pos x="2043" y="173"/>
                </a:cxn>
                <a:cxn ang="0">
                  <a:pos x="2078" y="284"/>
                </a:cxn>
                <a:cxn ang="0">
                  <a:pos x="2078" y="458"/>
                </a:cxn>
                <a:cxn ang="0">
                  <a:pos x="2078" y="649"/>
                </a:cxn>
                <a:cxn ang="0">
                  <a:pos x="2043" y="791"/>
                </a:cxn>
                <a:cxn ang="0">
                  <a:pos x="2023" y="1091"/>
                </a:cxn>
                <a:cxn ang="0">
                  <a:pos x="1968" y="1159"/>
                </a:cxn>
                <a:cxn ang="0">
                  <a:pos x="1968" y="1206"/>
                </a:cxn>
                <a:cxn ang="0">
                  <a:pos x="1624" y="1491"/>
                </a:cxn>
                <a:cxn ang="0">
                  <a:pos x="1556" y="1455"/>
                </a:cxn>
                <a:cxn ang="0">
                  <a:pos x="1472" y="1491"/>
                </a:cxn>
                <a:cxn ang="0">
                  <a:pos x="1433" y="1455"/>
                </a:cxn>
                <a:cxn ang="0">
                  <a:pos x="1520" y="1368"/>
                </a:cxn>
                <a:cxn ang="0">
                  <a:pos x="1528" y="1313"/>
                </a:cxn>
                <a:cxn ang="0">
                  <a:pos x="1624" y="1187"/>
                </a:cxn>
                <a:cxn ang="0">
                  <a:pos x="1615" y="1139"/>
                </a:cxn>
                <a:cxn ang="0">
                  <a:pos x="1366" y="1112"/>
                </a:cxn>
                <a:cxn ang="0">
                  <a:pos x="1216" y="969"/>
                </a:cxn>
                <a:cxn ang="0">
                  <a:pos x="1006" y="760"/>
                </a:cxn>
                <a:cxn ang="0">
                  <a:pos x="760" y="617"/>
                </a:cxn>
                <a:cxn ang="0">
                  <a:pos x="673" y="589"/>
                </a:cxn>
                <a:cxn ang="0">
                  <a:pos x="115" y="506"/>
                </a:cxn>
                <a:cxn ang="0">
                  <a:pos x="0" y="514"/>
                </a:cxn>
              </a:cxnLst>
              <a:rect l="0" t="0" r="r" b="b"/>
              <a:pathLst>
                <a:path w="2129" h="1491">
                  <a:moveTo>
                    <a:pt x="0" y="514"/>
                  </a:moveTo>
                  <a:lnTo>
                    <a:pt x="47" y="364"/>
                  </a:lnTo>
                  <a:lnTo>
                    <a:pt x="53" y="115"/>
                  </a:lnTo>
                  <a:lnTo>
                    <a:pt x="212" y="127"/>
                  </a:lnTo>
                  <a:lnTo>
                    <a:pt x="497" y="162"/>
                  </a:lnTo>
                  <a:lnTo>
                    <a:pt x="685" y="229"/>
                  </a:lnTo>
                  <a:lnTo>
                    <a:pt x="950" y="296"/>
                  </a:lnTo>
                  <a:lnTo>
                    <a:pt x="1018" y="257"/>
                  </a:lnTo>
                  <a:lnTo>
                    <a:pt x="1018" y="182"/>
                  </a:lnTo>
                  <a:lnTo>
                    <a:pt x="1054" y="127"/>
                  </a:lnTo>
                  <a:lnTo>
                    <a:pt x="1216" y="106"/>
                  </a:lnTo>
                  <a:lnTo>
                    <a:pt x="1310" y="11"/>
                  </a:lnTo>
                  <a:lnTo>
                    <a:pt x="1406" y="31"/>
                  </a:lnTo>
                  <a:lnTo>
                    <a:pt x="1528" y="0"/>
                  </a:lnTo>
                  <a:lnTo>
                    <a:pt x="1643" y="39"/>
                  </a:lnTo>
                  <a:lnTo>
                    <a:pt x="1730" y="94"/>
                  </a:lnTo>
                  <a:lnTo>
                    <a:pt x="1996" y="11"/>
                  </a:lnTo>
                  <a:lnTo>
                    <a:pt x="2129" y="35"/>
                  </a:lnTo>
                  <a:lnTo>
                    <a:pt x="2127" y="35"/>
                  </a:lnTo>
                  <a:lnTo>
                    <a:pt x="2110" y="94"/>
                  </a:lnTo>
                  <a:lnTo>
                    <a:pt x="2043" y="173"/>
                  </a:lnTo>
                  <a:lnTo>
                    <a:pt x="2078" y="284"/>
                  </a:lnTo>
                  <a:lnTo>
                    <a:pt x="2078" y="458"/>
                  </a:lnTo>
                  <a:lnTo>
                    <a:pt x="2078" y="649"/>
                  </a:lnTo>
                  <a:lnTo>
                    <a:pt x="2043" y="791"/>
                  </a:lnTo>
                  <a:lnTo>
                    <a:pt x="2023" y="1091"/>
                  </a:lnTo>
                  <a:lnTo>
                    <a:pt x="1968" y="1159"/>
                  </a:lnTo>
                  <a:lnTo>
                    <a:pt x="1968" y="1206"/>
                  </a:lnTo>
                  <a:lnTo>
                    <a:pt x="1624" y="1491"/>
                  </a:lnTo>
                  <a:lnTo>
                    <a:pt x="1556" y="1455"/>
                  </a:lnTo>
                  <a:lnTo>
                    <a:pt x="1472" y="1491"/>
                  </a:lnTo>
                  <a:lnTo>
                    <a:pt x="1433" y="1455"/>
                  </a:lnTo>
                  <a:lnTo>
                    <a:pt x="1520" y="1368"/>
                  </a:lnTo>
                  <a:lnTo>
                    <a:pt x="1528" y="1313"/>
                  </a:lnTo>
                  <a:lnTo>
                    <a:pt x="1624" y="1187"/>
                  </a:lnTo>
                  <a:lnTo>
                    <a:pt x="1615" y="1139"/>
                  </a:lnTo>
                  <a:lnTo>
                    <a:pt x="1366" y="1112"/>
                  </a:lnTo>
                  <a:lnTo>
                    <a:pt x="1216" y="969"/>
                  </a:lnTo>
                  <a:lnTo>
                    <a:pt x="1006" y="760"/>
                  </a:lnTo>
                  <a:lnTo>
                    <a:pt x="760" y="617"/>
                  </a:lnTo>
                  <a:lnTo>
                    <a:pt x="673" y="589"/>
                  </a:lnTo>
                  <a:lnTo>
                    <a:pt x="115" y="506"/>
                  </a:lnTo>
                  <a:lnTo>
                    <a:pt x="0" y="514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21" name="Freeform 30">
              <a:extLst>
                <a:ext uri="{FF2B5EF4-FFF2-40B4-BE49-F238E27FC236}">
                  <a16:creationId xmlns:a16="http://schemas.microsoft.com/office/drawing/2014/main" id="{6B13C4A4-F61C-46F6-9F3D-AF1A20494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2208420" y="699542"/>
              <a:ext cx="823236" cy="729691"/>
            </a:xfrm>
            <a:custGeom>
              <a:avLst/>
              <a:gdLst/>
              <a:ahLst/>
              <a:cxnLst>
                <a:cxn ang="0">
                  <a:pos x="1873" y="27"/>
                </a:cxn>
                <a:cxn ang="0">
                  <a:pos x="2062" y="0"/>
                </a:cxn>
                <a:cxn ang="0">
                  <a:pos x="2137" y="94"/>
                </a:cxn>
                <a:cxn ang="0">
                  <a:pos x="2116" y="282"/>
                </a:cxn>
                <a:cxn ang="0">
                  <a:pos x="2196" y="338"/>
                </a:cxn>
                <a:cxn ang="0">
                  <a:pos x="2251" y="357"/>
                </a:cxn>
                <a:cxn ang="0">
                  <a:pos x="2306" y="527"/>
                </a:cxn>
                <a:cxn ang="0">
                  <a:pos x="2337" y="614"/>
                </a:cxn>
                <a:cxn ang="0">
                  <a:pos x="2196" y="763"/>
                </a:cxn>
                <a:cxn ang="0">
                  <a:pos x="2204" y="917"/>
                </a:cxn>
                <a:cxn ang="0">
                  <a:pos x="2157" y="1153"/>
                </a:cxn>
                <a:cxn ang="0">
                  <a:pos x="2164" y="1236"/>
                </a:cxn>
                <a:cxn ang="0">
                  <a:pos x="2259" y="1295"/>
                </a:cxn>
                <a:cxn ang="0">
                  <a:pos x="2271" y="1472"/>
                </a:cxn>
                <a:cxn ang="0">
                  <a:pos x="2543" y="1693"/>
                </a:cxn>
                <a:cxn ang="0">
                  <a:pos x="2638" y="1756"/>
                </a:cxn>
                <a:cxn ang="0">
                  <a:pos x="2680" y="2142"/>
                </a:cxn>
                <a:cxn ang="0">
                  <a:pos x="2279" y="2165"/>
                </a:cxn>
                <a:cxn ang="0">
                  <a:pos x="2148" y="2241"/>
                </a:cxn>
                <a:cxn ang="0">
                  <a:pos x="2128" y="2335"/>
                </a:cxn>
                <a:cxn ang="0">
                  <a:pos x="2023" y="2418"/>
                </a:cxn>
                <a:cxn ang="0">
                  <a:pos x="1995" y="2579"/>
                </a:cxn>
                <a:cxn ang="0">
                  <a:pos x="1865" y="2654"/>
                </a:cxn>
                <a:cxn ang="0">
                  <a:pos x="1723" y="2551"/>
                </a:cxn>
                <a:cxn ang="0">
                  <a:pos x="1637" y="2512"/>
                </a:cxn>
                <a:cxn ang="0">
                  <a:pos x="1487" y="2599"/>
                </a:cxn>
                <a:cxn ang="0">
                  <a:pos x="1428" y="2855"/>
                </a:cxn>
                <a:cxn ang="0">
                  <a:pos x="1360" y="2902"/>
                </a:cxn>
                <a:cxn ang="0">
                  <a:pos x="1013" y="2619"/>
                </a:cxn>
                <a:cxn ang="0">
                  <a:pos x="1030" y="2599"/>
                </a:cxn>
                <a:cxn ang="0">
                  <a:pos x="1069" y="2571"/>
                </a:cxn>
                <a:cxn ang="0">
                  <a:pos x="1088" y="2449"/>
                </a:cxn>
                <a:cxn ang="0">
                  <a:pos x="1021" y="1889"/>
                </a:cxn>
                <a:cxn ang="0">
                  <a:pos x="785" y="1445"/>
                </a:cxn>
                <a:cxn ang="0">
                  <a:pos x="635" y="1295"/>
                </a:cxn>
                <a:cxn ang="0">
                  <a:pos x="359" y="1267"/>
                </a:cxn>
                <a:cxn ang="0">
                  <a:pos x="320" y="1153"/>
                </a:cxn>
                <a:cxn ang="0">
                  <a:pos x="272" y="992"/>
                </a:cxn>
                <a:cxn ang="0">
                  <a:pos x="226" y="898"/>
                </a:cxn>
                <a:cxn ang="0">
                  <a:pos x="238" y="794"/>
                </a:cxn>
                <a:cxn ang="0">
                  <a:pos x="20" y="566"/>
                </a:cxn>
                <a:cxn ang="0">
                  <a:pos x="0" y="527"/>
                </a:cxn>
                <a:cxn ang="0">
                  <a:pos x="56" y="512"/>
                </a:cxn>
                <a:cxn ang="0">
                  <a:pos x="95" y="539"/>
                </a:cxn>
                <a:cxn ang="0">
                  <a:pos x="257" y="539"/>
                </a:cxn>
                <a:cxn ang="0">
                  <a:pos x="331" y="633"/>
                </a:cxn>
                <a:cxn ang="0">
                  <a:pos x="549" y="641"/>
                </a:cxn>
                <a:cxn ang="0">
                  <a:pos x="615" y="594"/>
                </a:cxn>
                <a:cxn ang="0">
                  <a:pos x="833" y="755"/>
                </a:cxn>
                <a:cxn ang="0">
                  <a:pos x="899" y="708"/>
                </a:cxn>
                <a:cxn ang="0">
                  <a:pos x="887" y="586"/>
                </a:cxn>
                <a:cxn ang="0">
                  <a:pos x="1030" y="519"/>
                </a:cxn>
                <a:cxn ang="0">
                  <a:pos x="1076" y="471"/>
                </a:cxn>
                <a:cxn ang="0">
                  <a:pos x="1219" y="512"/>
                </a:cxn>
                <a:cxn ang="0">
                  <a:pos x="1392" y="464"/>
                </a:cxn>
                <a:cxn ang="0">
                  <a:pos x="1467" y="398"/>
                </a:cxn>
                <a:cxn ang="0">
                  <a:pos x="1589" y="330"/>
                </a:cxn>
                <a:cxn ang="0">
                  <a:pos x="1644" y="338"/>
                </a:cxn>
                <a:cxn ang="0">
                  <a:pos x="1892" y="114"/>
                </a:cxn>
                <a:cxn ang="0">
                  <a:pos x="1873" y="27"/>
                </a:cxn>
                <a:cxn ang="0">
                  <a:pos x="1873" y="27"/>
                </a:cxn>
              </a:cxnLst>
              <a:rect l="0" t="0" r="r" b="b"/>
              <a:pathLst>
                <a:path w="2680" h="2902">
                  <a:moveTo>
                    <a:pt x="1873" y="27"/>
                  </a:moveTo>
                  <a:lnTo>
                    <a:pt x="2062" y="0"/>
                  </a:lnTo>
                  <a:lnTo>
                    <a:pt x="2137" y="94"/>
                  </a:lnTo>
                  <a:lnTo>
                    <a:pt x="2116" y="282"/>
                  </a:lnTo>
                  <a:lnTo>
                    <a:pt x="2196" y="338"/>
                  </a:lnTo>
                  <a:lnTo>
                    <a:pt x="2251" y="357"/>
                  </a:lnTo>
                  <a:lnTo>
                    <a:pt x="2306" y="527"/>
                  </a:lnTo>
                  <a:lnTo>
                    <a:pt x="2337" y="614"/>
                  </a:lnTo>
                  <a:lnTo>
                    <a:pt x="2196" y="763"/>
                  </a:lnTo>
                  <a:lnTo>
                    <a:pt x="2204" y="917"/>
                  </a:lnTo>
                  <a:lnTo>
                    <a:pt x="2157" y="1153"/>
                  </a:lnTo>
                  <a:lnTo>
                    <a:pt x="2164" y="1236"/>
                  </a:lnTo>
                  <a:lnTo>
                    <a:pt x="2259" y="1295"/>
                  </a:lnTo>
                  <a:lnTo>
                    <a:pt x="2271" y="1472"/>
                  </a:lnTo>
                  <a:lnTo>
                    <a:pt x="2543" y="1693"/>
                  </a:lnTo>
                  <a:lnTo>
                    <a:pt x="2638" y="1756"/>
                  </a:lnTo>
                  <a:lnTo>
                    <a:pt x="2680" y="2142"/>
                  </a:lnTo>
                  <a:lnTo>
                    <a:pt x="2279" y="2165"/>
                  </a:lnTo>
                  <a:lnTo>
                    <a:pt x="2148" y="2241"/>
                  </a:lnTo>
                  <a:lnTo>
                    <a:pt x="2128" y="2335"/>
                  </a:lnTo>
                  <a:lnTo>
                    <a:pt x="2023" y="2418"/>
                  </a:lnTo>
                  <a:lnTo>
                    <a:pt x="1995" y="2579"/>
                  </a:lnTo>
                  <a:lnTo>
                    <a:pt x="1865" y="2654"/>
                  </a:lnTo>
                  <a:lnTo>
                    <a:pt x="1723" y="2551"/>
                  </a:lnTo>
                  <a:lnTo>
                    <a:pt x="1637" y="2512"/>
                  </a:lnTo>
                  <a:lnTo>
                    <a:pt x="1487" y="2599"/>
                  </a:lnTo>
                  <a:lnTo>
                    <a:pt x="1428" y="2855"/>
                  </a:lnTo>
                  <a:lnTo>
                    <a:pt x="1360" y="2902"/>
                  </a:lnTo>
                  <a:lnTo>
                    <a:pt x="1013" y="2619"/>
                  </a:lnTo>
                  <a:lnTo>
                    <a:pt x="1030" y="2599"/>
                  </a:lnTo>
                  <a:lnTo>
                    <a:pt x="1069" y="2571"/>
                  </a:lnTo>
                  <a:lnTo>
                    <a:pt x="1088" y="2449"/>
                  </a:lnTo>
                  <a:lnTo>
                    <a:pt x="1021" y="1889"/>
                  </a:lnTo>
                  <a:lnTo>
                    <a:pt x="785" y="1445"/>
                  </a:lnTo>
                  <a:lnTo>
                    <a:pt x="635" y="1295"/>
                  </a:lnTo>
                  <a:lnTo>
                    <a:pt x="359" y="1267"/>
                  </a:lnTo>
                  <a:lnTo>
                    <a:pt x="320" y="1153"/>
                  </a:lnTo>
                  <a:lnTo>
                    <a:pt x="272" y="992"/>
                  </a:lnTo>
                  <a:lnTo>
                    <a:pt x="226" y="898"/>
                  </a:lnTo>
                  <a:lnTo>
                    <a:pt x="238" y="794"/>
                  </a:lnTo>
                  <a:lnTo>
                    <a:pt x="20" y="566"/>
                  </a:lnTo>
                  <a:lnTo>
                    <a:pt x="0" y="527"/>
                  </a:lnTo>
                  <a:lnTo>
                    <a:pt x="56" y="512"/>
                  </a:lnTo>
                  <a:lnTo>
                    <a:pt x="95" y="539"/>
                  </a:lnTo>
                  <a:lnTo>
                    <a:pt x="257" y="539"/>
                  </a:lnTo>
                  <a:lnTo>
                    <a:pt x="331" y="633"/>
                  </a:lnTo>
                  <a:lnTo>
                    <a:pt x="549" y="641"/>
                  </a:lnTo>
                  <a:lnTo>
                    <a:pt x="615" y="594"/>
                  </a:lnTo>
                  <a:lnTo>
                    <a:pt x="833" y="755"/>
                  </a:lnTo>
                  <a:lnTo>
                    <a:pt x="899" y="708"/>
                  </a:lnTo>
                  <a:lnTo>
                    <a:pt x="887" y="586"/>
                  </a:lnTo>
                  <a:lnTo>
                    <a:pt x="1030" y="519"/>
                  </a:lnTo>
                  <a:lnTo>
                    <a:pt x="1076" y="471"/>
                  </a:lnTo>
                  <a:lnTo>
                    <a:pt x="1219" y="512"/>
                  </a:lnTo>
                  <a:lnTo>
                    <a:pt x="1392" y="464"/>
                  </a:lnTo>
                  <a:lnTo>
                    <a:pt x="1467" y="398"/>
                  </a:lnTo>
                  <a:lnTo>
                    <a:pt x="1589" y="330"/>
                  </a:lnTo>
                  <a:lnTo>
                    <a:pt x="1644" y="338"/>
                  </a:lnTo>
                  <a:lnTo>
                    <a:pt x="1892" y="114"/>
                  </a:lnTo>
                  <a:lnTo>
                    <a:pt x="1873" y="27"/>
                  </a:lnTo>
                  <a:lnTo>
                    <a:pt x="1873" y="27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grpSp>
          <p:nvGrpSpPr>
            <p:cNvPr id="122" name="Group 31">
              <a:extLst>
                <a:ext uri="{FF2B5EF4-FFF2-40B4-BE49-F238E27FC236}">
                  <a16:creationId xmlns:a16="http://schemas.microsoft.com/office/drawing/2014/main" id="{77EAA74E-A2FA-4843-9F7C-07A40C6C832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03796" y="4660723"/>
              <a:ext cx="309422" cy="317359"/>
              <a:chOff x="991" y="2736"/>
              <a:chExt cx="109" cy="137"/>
            </a:xfrm>
            <a:solidFill>
              <a:srgbClr val="7F7F7F"/>
            </a:solidFill>
          </p:grpSpPr>
          <p:sp>
            <p:nvSpPr>
              <p:cNvPr id="129" name="Freeform 32">
                <a:extLst>
                  <a:ext uri="{FF2B5EF4-FFF2-40B4-BE49-F238E27FC236}">
                    <a16:creationId xmlns:a16="http://schemas.microsoft.com/office/drawing/2014/main" id="{AA8AB7E6-BF26-442D-A288-493F49500C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91" y="2834"/>
                <a:ext cx="23" cy="3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28" y="0"/>
                  </a:cxn>
                  <a:cxn ang="0">
                    <a:pos x="34" y="14"/>
                  </a:cxn>
                  <a:cxn ang="0">
                    <a:pos x="30" y="39"/>
                  </a:cxn>
                  <a:cxn ang="0">
                    <a:pos x="23" y="57"/>
                  </a:cxn>
                  <a:cxn ang="0">
                    <a:pos x="0" y="28"/>
                  </a:cxn>
                </a:cxnLst>
                <a:rect l="0" t="0" r="r" b="b"/>
                <a:pathLst>
                  <a:path w="34" h="57">
                    <a:moveTo>
                      <a:pt x="0" y="28"/>
                    </a:moveTo>
                    <a:lnTo>
                      <a:pt x="28" y="0"/>
                    </a:lnTo>
                    <a:lnTo>
                      <a:pt x="34" y="14"/>
                    </a:lnTo>
                    <a:lnTo>
                      <a:pt x="30" y="39"/>
                    </a:lnTo>
                    <a:lnTo>
                      <a:pt x="23" y="57"/>
                    </a:lnTo>
                    <a:lnTo>
                      <a:pt x="0" y="28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  <p:sp>
            <p:nvSpPr>
              <p:cNvPr id="130" name="Freeform 33">
                <a:extLst>
                  <a:ext uri="{FF2B5EF4-FFF2-40B4-BE49-F238E27FC236}">
                    <a16:creationId xmlns:a16="http://schemas.microsoft.com/office/drawing/2014/main" id="{ACAB13A9-D5AD-4842-8A61-8D49A4231B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0" y="2736"/>
                <a:ext cx="70" cy="86"/>
              </a:xfrm>
              <a:custGeom>
                <a:avLst/>
                <a:gdLst/>
                <a:ahLst/>
                <a:cxnLst>
                  <a:cxn ang="0">
                    <a:pos x="16" y="114"/>
                  </a:cxn>
                  <a:cxn ang="0">
                    <a:pos x="3" y="126"/>
                  </a:cxn>
                  <a:cxn ang="0">
                    <a:pos x="0" y="123"/>
                  </a:cxn>
                  <a:cxn ang="0">
                    <a:pos x="0" y="121"/>
                  </a:cxn>
                  <a:cxn ang="0">
                    <a:pos x="3" y="107"/>
                  </a:cxn>
                  <a:cxn ang="0">
                    <a:pos x="14" y="94"/>
                  </a:cxn>
                  <a:cxn ang="0">
                    <a:pos x="21" y="78"/>
                  </a:cxn>
                  <a:cxn ang="0">
                    <a:pos x="37" y="66"/>
                  </a:cxn>
                  <a:cxn ang="0">
                    <a:pos x="62" y="18"/>
                  </a:cxn>
                  <a:cxn ang="0">
                    <a:pos x="60" y="0"/>
                  </a:cxn>
                  <a:cxn ang="0">
                    <a:pos x="76" y="0"/>
                  </a:cxn>
                  <a:cxn ang="0">
                    <a:pos x="103" y="7"/>
                  </a:cxn>
                  <a:cxn ang="0">
                    <a:pos x="94" y="23"/>
                  </a:cxn>
                  <a:cxn ang="0">
                    <a:pos x="92" y="43"/>
                  </a:cxn>
                  <a:cxn ang="0">
                    <a:pos x="78" y="50"/>
                  </a:cxn>
                  <a:cxn ang="0">
                    <a:pos x="78" y="62"/>
                  </a:cxn>
                  <a:cxn ang="0">
                    <a:pos x="64" y="66"/>
                  </a:cxn>
                  <a:cxn ang="0">
                    <a:pos x="62" y="85"/>
                  </a:cxn>
                  <a:cxn ang="0">
                    <a:pos x="16" y="114"/>
                  </a:cxn>
                </a:cxnLst>
                <a:rect l="0" t="0" r="r" b="b"/>
                <a:pathLst>
                  <a:path w="103" h="126">
                    <a:moveTo>
                      <a:pt x="16" y="114"/>
                    </a:moveTo>
                    <a:lnTo>
                      <a:pt x="3" y="126"/>
                    </a:lnTo>
                    <a:lnTo>
                      <a:pt x="0" y="123"/>
                    </a:lnTo>
                    <a:lnTo>
                      <a:pt x="0" y="121"/>
                    </a:lnTo>
                    <a:lnTo>
                      <a:pt x="3" y="107"/>
                    </a:lnTo>
                    <a:lnTo>
                      <a:pt x="14" y="94"/>
                    </a:lnTo>
                    <a:lnTo>
                      <a:pt x="21" y="78"/>
                    </a:lnTo>
                    <a:lnTo>
                      <a:pt x="37" y="66"/>
                    </a:lnTo>
                    <a:lnTo>
                      <a:pt x="62" y="18"/>
                    </a:lnTo>
                    <a:lnTo>
                      <a:pt x="60" y="0"/>
                    </a:lnTo>
                    <a:lnTo>
                      <a:pt x="76" y="0"/>
                    </a:lnTo>
                    <a:lnTo>
                      <a:pt x="103" y="7"/>
                    </a:lnTo>
                    <a:lnTo>
                      <a:pt x="94" y="23"/>
                    </a:lnTo>
                    <a:lnTo>
                      <a:pt x="92" y="43"/>
                    </a:lnTo>
                    <a:lnTo>
                      <a:pt x="78" y="50"/>
                    </a:lnTo>
                    <a:lnTo>
                      <a:pt x="78" y="62"/>
                    </a:lnTo>
                    <a:lnTo>
                      <a:pt x="64" y="66"/>
                    </a:lnTo>
                    <a:lnTo>
                      <a:pt x="62" y="85"/>
                    </a:lnTo>
                    <a:lnTo>
                      <a:pt x="16" y="114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</p:grpSp>
        <p:sp>
          <p:nvSpPr>
            <p:cNvPr id="123" name="Freeform 34">
              <a:extLst>
                <a:ext uri="{FF2B5EF4-FFF2-40B4-BE49-F238E27FC236}">
                  <a16:creationId xmlns:a16="http://schemas.microsoft.com/office/drawing/2014/main" id="{2E3C3E45-995A-4139-A12B-4628ACF6C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4275026" y="1213800"/>
              <a:ext cx="96517" cy="30114"/>
            </a:xfrm>
            <a:custGeom>
              <a:avLst/>
              <a:gdLst/>
              <a:ahLst/>
              <a:cxnLst>
                <a:cxn ang="0">
                  <a:pos x="36" y="7"/>
                </a:cxn>
                <a:cxn ang="0">
                  <a:pos x="25" y="14"/>
                </a:cxn>
                <a:cxn ang="0">
                  <a:pos x="2" y="14"/>
                </a:cxn>
                <a:cxn ang="0">
                  <a:pos x="0" y="7"/>
                </a:cxn>
                <a:cxn ang="0">
                  <a:pos x="25" y="0"/>
                </a:cxn>
                <a:cxn ang="0">
                  <a:pos x="34" y="3"/>
                </a:cxn>
                <a:cxn ang="0">
                  <a:pos x="36" y="7"/>
                </a:cxn>
              </a:cxnLst>
              <a:rect l="0" t="0" r="r" b="b"/>
              <a:pathLst>
                <a:path w="36" h="14">
                  <a:moveTo>
                    <a:pt x="36" y="7"/>
                  </a:moveTo>
                  <a:lnTo>
                    <a:pt x="25" y="14"/>
                  </a:lnTo>
                  <a:lnTo>
                    <a:pt x="2" y="14"/>
                  </a:lnTo>
                  <a:lnTo>
                    <a:pt x="0" y="7"/>
                  </a:lnTo>
                  <a:lnTo>
                    <a:pt x="25" y="0"/>
                  </a:lnTo>
                  <a:lnTo>
                    <a:pt x="34" y="3"/>
                  </a:lnTo>
                  <a:lnTo>
                    <a:pt x="36" y="7"/>
                  </a:lnTo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24" name="Freeform 35">
              <a:extLst>
                <a:ext uri="{FF2B5EF4-FFF2-40B4-BE49-F238E27FC236}">
                  <a16:creationId xmlns:a16="http://schemas.microsoft.com/office/drawing/2014/main" id="{F6023607-6E11-4557-8675-CA8CF612DC0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33733" y="1278661"/>
              <a:ext cx="127743" cy="127407"/>
            </a:xfrm>
            <a:custGeom>
              <a:avLst/>
              <a:gdLst/>
              <a:ahLst/>
              <a:cxnLst>
                <a:cxn ang="0">
                  <a:pos x="6" y="37"/>
                </a:cxn>
                <a:cxn ang="0">
                  <a:pos x="18" y="28"/>
                </a:cxn>
                <a:cxn ang="0">
                  <a:pos x="25" y="7"/>
                </a:cxn>
                <a:cxn ang="0">
                  <a:pos x="45" y="0"/>
                </a:cxn>
                <a:cxn ang="0">
                  <a:pos x="43" y="21"/>
                </a:cxn>
                <a:cxn ang="0">
                  <a:pos x="27" y="44"/>
                </a:cxn>
                <a:cxn ang="0">
                  <a:pos x="4" y="55"/>
                </a:cxn>
                <a:cxn ang="0">
                  <a:pos x="0" y="51"/>
                </a:cxn>
                <a:cxn ang="0">
                  <a:pos x="6" y="37"/>
                </a:cxn>
              </a:cxnLst>
              <a:rect l="0" t="0" r="r" b="b"/>
              <a:pathLst>
                <a:path w="45" h="55">
                  <a:moveTo>
                    <a:pt x="6" y="37"/>
                  </a:moveTo>
                  <a:lnTo>
                    <a:pt x="18" y="28"/>
                  </a:lnTo>
                  <a:lnTo>
                    <a:pt x="25" y="7"/>
                  </a:lnTo>
                  <a:lnTo>
                    <a:pt x="45" y="0"/>
                  </a:lnTo>
                  <a:lnTo>
                    <a:pt x="43" y="21"/>
                  </a:lnTo>
                  <a:lnTo>
                    <a:pt x="27" y="44"/>
                  </a:lnTo>
                  <a:lnTo>
                    <a:pt x="4" y="55"/>
                  </a:lnTo>
                  <a:lnTo>
                    <a:pt x="0" y="51"/>
                  </a:lnTo>
                  <a:lnTo>
                    <a:pt x="6" y="37"/>
                  </a:lnTo>
                </a:path>
              </a:pathLst>
            </a:custGeom>
            <a:solidFill>
              <a:srgbClr val="7F7F7F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sp>
          <p:nvSpPr>
            <p:cNvPr id="125" name="Freeform 36">
              <a:extLst>
                <a:ext uri="{FF2B5EF4-FFF2-40B4-BE49-F238E27FC236}">
                  <a16:creationId xmlns:a16="http://schemas.microsoft.com/office/drawing/2014/main" id="{E9E5C905-E52D-4230-A25E-D41A08A3C43F}"/>
                </a:ext>
              </a:extLst>
            </p:cNvPr>
            <p:cNvSpPr>
              <a:spLocks/>
            </p:cNvSpPr>
            <p:nvPr/>
          </p:nvSpPr>
          <p:spPr bwMode="gray">
            <a:xfrm>
              <a:off x="4879679" y="3634521"/>
              <a:ext cx="510975" cy="280293"/>
            </a:xfrm>
            <a:custGeom>
              <a:avLst/>
              <a:gdLst/>
              <a:ahLst/>
              <a:cxnLst>
                <a:cxn ang="0">
                  <a:pos x="55" y="689"/>
                </a:cxn>
                <a:cxn ang="0">
                  <a:pos x="130" y="775"/>
                </a:cxn>
                <a:cxn ang="0">
                  <a:pos x="284" y="775"/>
                </a:cxn>
                <a:cxn ang="0">
                  <a:pos x="300" y="796"/>
                </a:cxn>
                <a:cxn ang="0">
                  <a:pos x="205" y="891"/>
                </a:cxn>
                <a:cxn ang="0">
                  <a:pos x="28" y="937"/>
                </a:cxn>
                <a:cxn ang="0">
                  <a:pos x="0" y="1032"/>
                </a:cxn>
                <a:cxn ang="0">
                  <a:pos x="8" y="1115"/>
                </a:cxn>
                <a:cxn ang="0">
                  <a:pos x="75" y="1115"/>
                </a:cxn>
                <a:cxn ang="0">
                  <a:pos x="94" y="1087"/>
                </a:cxn>
                <a:cxn ang="0">
                  <a:pos x="48" y="1020"/>
                </a:cxn>
                <a:cxn ang="0">
                  <a:pos x="63" y="993"/>
                </a:cxn>
                <a:cxn ang="0">
                  <a:pos x="170" y="945"/>
                </a:cxn>
                <a:cxn ang="0">
                  <a:pos x="252" y="993"/>
                </a:cxn>
                <a:cxn ang="0">
                  <a:pos x="395" y="945"/>
                </a:cxn>
                <a:cxn ang="0">
                  <a:pos x="529" y="1000"/>
                </a:cxn>
                <a:cxn ang="0">
                  <a:pos x="616" y="973"/>
                </a:cxn>
                <a:cxn ang="0">
                  <a:pos x="623" y="906"/>
                </a:cxn>
                <a:cxn ang="0">
                  <a:pos x="670" y="891"/>
                </a:cxn>
                <a:cxn ang="0">
                  <a:pos x="737" y="984"/>
                </a:cxn>
                <a:cxn ang="0">
                  <a:pos x="820" y="993"/>
                </a:cxn>
                <a:cxn ang="0">
                  <a:pos x="1170" y="953"/>
                </a:cxn>
                <a:cxn ang="0">
                  <a:pos x="1211" y="804"/>
                </a:cxn>
                <a:cxn ang="0">
                  <a:pos x="1597" y="614"/>
                </a:cxn>
                <a:cxn ang="0">
                  <a:pos x="1597" y="433"/>
                </a:cxn>
                <a:cxn ang="0">
                  <a:pos x="1673" y="236"/>
                </a:cxn>
                <a:cxn ang="0">
                  <a:pos x="1671" y="236"/>
                </a:cxn>
                <a:cxn ang="0">
                  <a:pos x="1352" y="149"/>
                </a:cxn>
                <a:cxn ang="0">
                  <a:pos x="1325" y="27"/>
                </a:cxn>
                <a:cxn ang="0">
                  <a:pos x="1293" y="0"/>
                </a:cxn>
                <a:cxn ang="0">
                  <a:pos x="1190" y="87"/>
                </a:cxn>
                <a:cxn ang="0">
                  <a:pos x="1068" y="418"/>
                </a:cxn>
                <a:cxn ang="0">
                  <a:pos x="709" y="559"/>
                </a:cxn>
                <a:cxn ang="0">
                  <a:pos x="407" y="539"/>
                </a:cxn>
                <a:cxn ang="0">
                  <a:pos x="55" y="689"/>
                </a:cxn>
                <a:cxn ang="0">
                  <a:pos x="55" y="689"/>
                </a:cxn>
              </a:cxnLst>
              <a:rect l="0" t="0" r="r" b="b"/>
              <a:pathLst>
                <a:path w="1673" h="1115">
                  <a:moveTo>
                    <a:pt x="55" y="689"/>
                  </a:moveTo>
                  <a:lnTo>
                    <a:pt x="130" y="775"/>
                  </a:lnTo>
                  <a:lnTo>
                    <a:pt x="284" y="775"/>
                  </a:lnTo>
                  <a:lnTo>
                    <a:pt x="300" y="796"/>
                  </a:lnTo>
                  <a:lnTo>
                    <a:pt x="205" y="891"/>
                  </a:lnTo>
                  <a:lnTo>
                    <a:pt x="28" y="937"/>
                  </a:lnTo>
                  <a:lnTo>
                    <a:pt x="0" y="1032"/>
                  </a:lnTo>
                  <a:lnTo>
                    <a:pt x="8" y="1115"/>
                  </a:lnTo>
                  <a:lnTo>
                    <a:pt x="75" y="1115"/>
                  </a:lnTo>
                  <a:lnTo>
                    <a:pt x="94" y="1087"/>
                  </a:lnTo>
                  <a:lnTo>
                    <a:pt x="48" y="1020"/>
                  </a:lnTo>
                  <a:lnTo>
                    <a:pt x="63" y="993"/>
                  </a:lnTo>
                  <a:lnTo>
                    <a:pt x="170" y="945"/>
                  </a:lnTo>
                  <a:lnTo>
                    <a:pt x="252" y="993"/>
                  </a:lnTo>
                  <a:lnTo>
                    <a:pt x="395" y="945"/>
                  </a:lnTo>
                  <a:lnTo>
                    <a:pt x="529" y="1000"/>
                  </a:lnTo>
                  <a:lnTo>
                    <a:pt x="616" y="973"/>
                  </a:lnTo>
                  <a:lnTo>
                    <a:pt x="623" y="906"/>
                  </a:lnTo>
                  <a:lnTo>
                    <a:pt x="670" y="891"/>
                  </a:lnTo>
                  <a:lnTo>
                    <a:pt x="737" y="984"/>
                  </a:lnTo>
                  <a:lnTo>
                    <a:pt x="820" y="993"/>
                  </a:lnTo>
                  <a:lnTo>
                    <a:pt x="1170" y="953"/>
                  </a:lnTo>
                  <a:lnTo>
                    <a:pt x="1211" y="804"/>
                  </a:lnTo>
                  <a:lnTo>
                    <a:pt x="1597" y="614"/>
                  </a:lnTo>
                  <a:lnTo>
                    <a:pt x="1597" y="433"/>
                  </a:lnTo>
                  <a:lnTo>
                    <a:pt x="1673" y="236"/>
                  </a:lnTo>
                  <a:lnTo>
                    <a:pt x="1671" y="236"/>
                  </a:lnTo>
                  <a:lnTo>
                    <a:pt x="1352" y="149"/>
                  </a:lnTo>
                  <a:lnTo>
                    <a:pt x="1325" y="27"/>
                  </a:lnTo>
                  <a:lnTo>
                    <a:pt x="1293" y="0"/>
                  </a:lnTo>
                  <a:lnTo>
                    <a:pt x="1190" y="87"/>
                  </a:lnTo>
                  <a:lnTo>
                    <a:pt x="1068" y="418"/>
                  </a:lnTo>
                  <a:lnTo>
                    <a:pt x="709" y="559"/>
                  </a:lnTo>
                  <a:lnTo>
                    <a:pt x="407" y="539"/>
                  </a:lnTo>
                  <a:lnTo>
                    <a:pt x="55" y="689"/>
                  </a:lnTo>
                  <a:lnTo>
                    <a:pt x="55" y="689"/>
                  </a:lnTo>
                </a:path>
              </a:pathLst>
            </a:custGeom>
            <a:solidFill>
              <a:srgbClr val="7F7F7F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 sz="1000" dirty="0">
                <a:solidFill>
                  <a:prstClr val="black"/>
                </a:solidFill>
                <a:latin typeface="Myriad Pro"/>
              </a:endParaRPr>
            </a:p>
          </p:txBody>
        </p:sp>
        <p:grpSp>
          <p:nvGrpSpPr>
            <p:cNvPr id="126" name="Group 37">
              <a:extLst>
                <a:ext uri="{FF2B5EF4-FFF2-40B4-BE49-F238E27FC236}">
                  <a16:creationId xmlns:a16="http://schemas.microsoft.com/office/drawing/2014/main" id="{D83DF8EB-F999-419D-B561-8AFE51BCD60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90163" y="4690202"/>
              <a:ext cx="307767" cy="319435"/>
              <a:chOff x="991" y="2736"/>
              <a:chExt cx="109" cy="137"/>
            </a:xfrm>
            <a:solidFill>
              <a:srgbClr val="7F7F7F"/>
            </a:solidFill>
          </p:grpSpPr>
          <p:sp>
            <p:nvSpPr>
              <p:cNvPr id="127" name="Freeform 38">
                <a:extLst>
                  <a:ext uri="{FF2B5EF4-FFF2-40B4-BE49-F238E27FC236}">
                    <a16:creationId xmlns:a16="http://schemas.microsoft.com/office/drawing/2014/main" id="{8A38279C-4B39-4A7F-A755-CA1C2BE0599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91" y="2834"/>
                <a:ext cx="23" cy="39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28" y="0"/>
                  </a:cxn>
                  <a:cxn ang="0">
                    <a:pos x="34" y="14"/>
                  </a:cxn>
                  <a:cxn ang="0">
                    <a:pos x="30" y="39"/>
                  </a:cxn>
                  <a:cxn ang="0">
                    <a:pos x="23" y="57"/>
                  </a:cxn>
                  <a:cxn ang="0">
                    <a:pos x="0" y="28"/>
                  </a:cxn>
                </a:cxnLst>
                <a:rect l="0" t="0" r="r" b="b"/>
                <a:pathLst>
                  <a:path w="34" h="57">
                    <a:moveTo>
                      <a:pt x="0" y="28"/>
                    </a:moveTo>
                    <a:lnTo>
                      <a:pt x="28" y="0"/>
                    </a:lnTo>
                    <a:lnTo>
                      <a:pt x="34" y="14"/>
                    </a:lnTo>
                    <a:lnTo>
                      <a:pt x="30" y="39"/>
                    </a:lnTo>
                    <a:lnTo>
                      <a:pt x="23" y="57"/>
                    </a:lnTo>
                    <a:lnTo>
                      <a:pt x="0" y="28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  <p:sp>
            <p:nvSpPr>
              <p:cNvPr id="128" name="Freeform 39">
                <a:extLst>
                  <a:ext uri="{FF2B5EF4-FFF2-40B4-BE49-F238E27FC236}">
                    <a16:creationId xmlns:a16="http://schemas.microsoft.com/office/drawing/2014/main" id="{ED6E85D3-ED1F-4181-80D4-79717B9F6E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30" y="2736"/>
                <a:ext cx="70" cy="86"/>
              </a:xfrm>
              <a:custGeom>
                <a:avLst/>
                <a:gdLst/>
                <a:ahLst/>
                <a:cxnLst>
                  <a:cxn ang="0">
                    <a:pos x="16" y="114"/>
                  </a:cxn>
                  <a:cxn ang="0">
                    <a:pos x="3" y="126"/>
                  </a:cxn>
                  <a:cxn ang="0">
                    <a:pos x="0" y="123"/>
                  </a:cxn>
                  <a:cxn ang="0">
                    <a:pos x="0" y="121"/>
                  </a:cxn>
                  <a:cxn ang="0">
                    <a:pos x="3" y="107"/>
                  </a:cxn>
                  <a:cxn ang="0">
                    <a:pos x="14" y="94"/>
                  </a:cxn>
                  <a:cxn ang="0">
                    <a:pos x="21" y="78"/>
                  </a:cxn>
                  <a:cxn ang="0">
                    <a:pos x="37" y="66"/>
                  </a:cxn>
                  <a:cxn ang="0">
                    <a:pos x="62" y="18"/>
                  </a:cxn>
                  <a:cxn ang="0">
                    <a:pos x="60" y="0"/>
                  </a:cxn>
                  <a:cxn ang="0">
                    <a:pos x="76" y="0"/>
                  </a:cxn>
                  <a:cxn ang="0">
                    <a:pos x="103" y="7"/>
                  </a:cxn>
                  <a:cxn ang="0">
                    <a:pos x="94" y="23"/>
                  </a:cxn>
                  <a:cxn ang="0">
                    <a:pos x="92" y="43"/>
                  </a:cxn>
                  <a:cxn ang="0">
                    <a:pos x="78" y="50"/>
                  </a:cxn>
                  <a:cxn ang="0">
                    <a:pos x="78" y="62"/>
                  </a:cxn>
                  <a:cxn ang="0">
                    <a:pos x="64" y="66"/>
                  </a:cxn>
                  <a:cxn ang="0">
                    <a:pos x="62" y="85"/>
                  </a:cxn>
                  <a:cxn ang="0">
                    <a:pos x="16" y="114"/>
                  </a:cxn>
                </a:cxnLst>
                <a:rect l="0" t="0" r="r" b="b"/>
                <a:pathLst>
                  <a:path w="103" h="126">
                    <a:moveTo>
                      <a:pt x="16" y="114"/>
                    </a:moveTo>
                    <a:lnTo>
                      <a:pt x="3" y="126"/>
                    </a:lnTo>
                    <a:lnTo>
                      <a:pt x="0" y="123"/>
                    </a:lnTo>
                    <a:lnTo>
                      <a:pt x="0" y="121"/>
                    </a:lnTo>
                    <a:lnTo>
                      <a:pt x="3" y="107"/>
                    </a:lnTo>
                    <a:lnTo>
                      <a:pt x="14" y="94"/>
                    </a:lnTo>
                    <a:lnTo>
                      <a:pt x="21" y="78"/>
                    </a:lnTo>
                    <a:lnTo>
                      <a:pt x="37" y="66"/>
                    </a:lnTo>
                    <a:lnTo>
                      <a:pt x="62" y="18"/>
                    </a:lnTo>
                    <a:lnTo>
                      <a:pt x="60" y="0"/>
                    </a:lnTo>
                    <a:lnTo>
                      <a:pt x="76" y="0"/>
                    </a:lnTo>
                    <a:lnTo>
                      <a:pt x="103" y="7"/>
                    </a:lnTo>
                    <a:lnTo>
                      <a:pt x="94" y="23"/>
                    </a:lnTo>
                    <a:lnTo>
                      <a:pt x="92" y="43"/>
                    </a:lnTo>
                    <a:lnTo>
                      <a:pt x="78" y="50"/>
                    </a:lnTo>
                    <a:lnTo>
                      <a:pt x="78" y="62"/>
                    </a:lnTo>
                    <a:lnTo>
                      <a:pt x="64" y="66"/>
                    </a:lnTo>
                    <a:lnTo>
                      <a:pt x="62" y="85"/>
                    </a:lnTo>
                    <a:lnTo>
                      <a:pt x="16" y="114"/>
                    </a:lnTo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 sz="1000" dirty="0">
                  <a:solidFill>
                    <a:prstClr val="black"/>
                  </a:solidFill>
                  <a:latin typeface="Myriad Pro"/>
                </a:endParaRPr>
              </a:p>
            </p:txBody>
          </p:sp>
        </p:grpSp>
      </p:grpSp>
      <p:sp>
        <p:nvSpPr>
          <p:cNvPr id="131" name="CaixaDeTexto 130">
            <a:extLst>
              <a:ext uri="{FF2B5EF4-FFF2-40B4-BE49-F238E27FC236}">
                <a16:creationId xmlns:a16="http://schemas.microsoft.com/office/drawing/2014/main" id="{91F86CC1-CFE3-4BC7-8DBC-08809C927B72}"/>
              </a:ext>
            </a:extLst>
          </p:cNvPr>
          <p:cNvSpPr txBox="1"/>
          <p:nvPr/>
        </p:nvSpPr>
        <p:spPr>
          <a:xfrm>
            <a:off x="1953272" y="3724801"/>
            <a:ext cx="6788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60,4%</a:t>
            </a:r>
          </a:p>
        </p:txBody>
      </p:sp>
      <p:sp>
        <p:nvSpPr>
          <p:cNvPr id="132" name="CaixaDeTexto 131">
            <a:extLst>
              <a:ext uri="{FF2B5EF4-FFF2-40B4-BE49-F238E27FC236}">
                <a16:creationId xmlns:a16="http://schemas.microsoft.com/office/drawing/2014/main" id="{F1406E0B-7A3A-4B02-BA2A-40209582761A}"/>
              </a:ext>
            </a:extLst>
          </p:cNvPr>
          <p:cNvSpPr txBox="1"/>
          <p:nvPr/>
        </p:nvSpPr>
        <p:spPr>
          <a:xfrm>
            <a:off x="1583839" y="4170120"/>
            <a:ext cx="5159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8,4%</a:t>
            </a:r>
          </a:p>
        </p:txBody>
      </p:sp>
      <p:sp>
        <p:nvSpPr>
          <p:cNvPr id="133" name="CaixaDeTexto 132">
            <a:extLst>
              <a:ext uri="{FF2B5EF4-FFF2-40B4-BE49-F238E27FC236}">
                <a16:creationId xmlns:a16="http://schemas.microsoft.com/office/drawing/2014/main" id="{302ECBE6-9A31-439B-A1D5-6C2DB34047ED}"/>
              </a:ext>
            </a:extLst>
          </p:cNvPr>
          <p:cNvSpPr txBox="1"/>
          <p:nvPr/>
        </p:nvSpPr>
        <p:spPr>
          <a:xfrm>
            <a:off x="1384447" y="3408822"/>
            <a:ext cx="6182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5,5%</a:t>
            </a:r>
          </a:p>
        </p:txBody>
      </p:sp>
      <p:sp>
        <p:nvSpPr>
          <p:cNvPr id="134" name="CaixaDeTexto 133">
            <a:extLst>
              <a:ext uri="{FF2B5EF4-FFF2-40B4-BE49-F238E27FC236}">
                <a16:creationId xmlns:a16="http://schemas.microsoft.com/office/drawing/2014/main" id="{378F7DCE-F2E9-4C9E-96BB-1C8F34A34C11}"/>
              </a:ext>
            </a:extLst>
          </p:cNvPr>
          <p:cNvSpPr txBox="1"/>
          <p:nvPr/>
        </p:nvSpPr>
        <p:spPr>
          <a:xfrm>
            <a:off x="984035" y="2689703"/>
            <a:ext cx="5159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2,0%</a:t>
            </a:r>
          </a:p>
        </p:txBody>
      </p:sp>
      <p:sp>
        <p:nvSpPr>
          <p:cNvPr id="135" name="CaixaDeTexto 134">
            <a:extLst>
              <a:ext uri="{FF2B5EF4-FFF2-40B4-BE49-F238E27FC236}">
                <a16:creationId xmlns:a16="http://schemas.microsoft.com/office/drawing/2014/main" id="{AD88F9DF-9F0D-4C93-9B69-A0A33134BC2E}"/>
              </a:ext>
            </a:extLst>
          </p:cNvPr>
          <p:cNvSpPr txBox="1"/>
          <p:nvPr/>
        </p:nvSpPr>
        <p:spPr>
          <a:xfrm>
            <a:off x="2236569" y="2934801"/>
            <a:ext cx="5806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latin typeface="Myriad Pro"/>
              </a:rPr>
              <a:t>23,6%</a:t>
            </a:r>
          </a:p>
        </p:txBody>
      </p:sp>
      <p:sp>
        <p:nvSpPr>
          <p:cNvPr id="138" name="CaixaDeTexto 137">
            <a:extLst>
              <a:ext uri="{FF2B5EF4-FFF2-40B4-BE49-F238E27FC236}">
                <a16:creationId xmlns:a16="http://schemas.microsoft.com/office/drawing/2014/main" id="{FFF58ABD-9F77-457E-8AD6-88F5F45F47DD}"/>
              </a:ext>
            </a:extLst>
          </p:cNvPr>
          <p:cNvSpPr txBox="1"/>
          <p:nvPr/>
        </p:nvSpPr>
        <p:spPr>
          <a:xfrm>
            <a:off x="3428717" y="2048697"/>
            <a:ext cx="2631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2007</a:t>
            </a:r>
          </a:p>
          <a:p>
            <a:pPr algn="ctr"/>
            <a:endParaRPr lang="pt-BR" sz="1200" spc="5" dirty="0">
              <a:solidFill>
                <a:srgbClr val="253F93"/>
              </a:solidFill>
              <a:latin typeface="Myriad Pro"/>
              <a:ea typeface="+mj-ea"/>
              <a:cs typeface="+mj-cs"/>
            </a:endParaRPr>
          </a:p>
          <a:p>
            <a:pPr lvl="1" algn="ctr"/>
            <a:endParaRPr lang="pt-BR" sz="1200" b="1" spc="5" dirty="0">
              <a:solidFill>
                <a:srgbClr val="00A8AB"/>
              </a:solidFill>
              <a:latin typeface="Myriad Pro"/>
            </a:endParaRPr>
          </a:p>
        </p:txBody>
      </p:sp>
      <p:sp>
        <p:nvSpPr>
          <p:cNvPr id="139" name="CaixaDeTexto 138">
            <a:extLst>
              <a:ext uri="{FF2B5EF4-FFF2-40B4-BE49-F238E27FC236}">
                <a16:creationId xmlns:a16="http://schemas.microsoft.com/office/drawing/2014/main" id="{D19D9E4F-1E84-4B20-8F9D-E5BCD6FCA84E}"/>
              </a:ext>
            </a:extLst>
          </p:cNvPr>
          <p:cNvSpPr txBox="1"/>
          <p:nvPr/>
        </p:nvSpPr>
        <p:spPr>
          <a:xfrm>
            <a:off x="6447223" y="2048697"/>
            <a:ext cx="2631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2016</a:t>
            </a:r>
          </a:p>
          <a:p>
            <a:pPr algn="ctr"/>
            <a:endParaRPr lang="pt-BR" sz="1200" spc="5" dirty="0">
              <a:solidFill>
                <a:srgbClr val="253F93"/>
              </a:solidFill>
              <a:latin typeface="Myriad Pro"/>
              <a:ea typeface="+mj-ea"/>
              <a:cs typeface="+mj-cs"/>
            </a:endParaRPr>
          </a:p>
          <a:p>
            <a:pPr lvl="1" algn="ctr"/>
            <a:endParaRPr lang="pt-BR" sz="1200" b="1" spc="5" dirty="0">
              <a:solidFill>
                <a:srgbClr val="00A8AB"/>
              </a:solidFill>
              <a:latin typeface="Myriad Pro"/>
            </a:endParaRPr>
          </a:p>
        </p:txBody>
      </p:sp>
      <p:sp>
        <p:nvSpPr>
          <p:cNvPr id="136" name="CaixaDeTexto 135">
            <a:extLst>
              <a:ext uri="{FF2B5EF4-FFF2-40B4-BE49-F238E27FC236}">
                <a16:creationId xmlns:a16="http://schemas.microsoft.com/office/drawing/2014/main" id="{8585DB9A-4160-470F-A6FA-EA1D7E129EA6}"/>
              </a:ext>
            </a:extLst>
          </p:cNvPr>
          <p:cNvSpPr txBox="1"/>
          <p:nvPr/>
        </p:nvSpPr>
        <p:spPr>
          <a:xfrm>
            <a:off x="197025" y="4803998"/>
            <a:ext cx="34563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1" u="none" strike="noStrike" kern="1200" cap="none" spc="0" normalizeH="0" baseline="0" noProof="0" dirty="0">
                <a:ln>
                  <a:noFill/>
                </a:ln>
                <a:solidFill>
                  <a:srgbClr val="253F9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Fonte: Revista DAE – Eng. </a:t>
            </a:r>
            <a:r>
              <a:rPr kumimoji="0" lang="pt-B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253F9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Irvando</a:t>
            </a:r>
            <a:r>
              <a:rPr kumimoji="0" lang="pt-BR" sz="800" b="0" i="1" u="none" strike="noStrike" kern="1200" cap="none" spc="0" normalizeH="0" baseline="0" noProof="0" dirty="0">
                <a:ln>
                  <a:noFill/>
                </a:ln>
                <a:solidFill>
                  <a:srgbClr val="253F9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 Mendonça Pires</a:t>
            </a:r>
            <a:br>
              <a:rPr kumimoji="0" lang="pt-BR" sz="800" b="0" i="1" u="none" strike="noStrike" kern="1200" cap="none" spc="0" normalizeH="0" baseline="0" noProof="0" dirty="0">
                <a:ln>
                  <a:noFill/>
                </a:ln>
                <a:solidFill>
                  <a:srgbClr val="253F9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</a:br>
            <a:r>
              <a:rPr kumimoji="0" lang="pt-BR" sz="800" b="0" i="1" u="none" strike="noStrike" kern="1200" cap="none" spc="0" normalizeH="0" baseline="0" noProof="0" dirty="0">
                <a:ln>
                  <a:noFill/>
                </a:ln>
                <a:solidFill>
                  <a:srgbClr val="253F9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Fonte: </a:t>
            </a:r>
            <a:r>
              <a:rPr lang="pt-BR" sz="800" i="1" dirty="0">
                <a:solidFill>
                  <a:srgbClr val="253F93"/>
                </a:solidFill>
                <a:latin typeface="Myriad Pro"/>
              </a:rPr>
              <a:t>Ministério das Cidades</a:t>
            </a:r>
            <a:endParaRPr kumimoji="0" lang="pt-BR" sz="800" b="0" i="1" u="none" strike="noStrike" kern="1200" cap="none" spc="0" normalizeH="0" baseline="0" noProof="0" dirty="0">
              <a:ln>
                <a:noFill/>
              </a:ln>
              <a:solidFill>
                <a:srgbClr val="253F93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140" name="CaixaDeTexto 139">
            <a:extLst>
              <a:ext uri="{FF2B5EF4-FFF2-40B4-BE49-F238E27FC236}">
                <a16:creationId xmlns:a16="http://schemas.microsoft.com/office/drawing/2014/main" id="{45C6E878-BA23-4F02-BE69-6D596C391597}"/>
              </a:ext>
            </a:extLst>
          </p:cNvPr>
          <p:cNvSpPr txBox="1"/>
          <p:nvPr/>
        </p:nvSpPr>
        <p:spPr>
          <a:xfrm>
            <a:off x="297772" y="1969192"/>
            <a:ext cx="2631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b="1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1970 até 1980</a:t>
            </a:r>
          </a:p>
          <a:p>
            <a:pPr algn="ctr"/>
            <a:endParaRPr lang="pt-BR" sz="1200" spc="5" dirty="0">
              <a:solidFill>
                <a:srgbClr val="253F93"/>
              </a:solidFill>
              <a:latin typeface="Myriad Pro"/>
              <a:ea typeface="+mj-ea"/>
              <a:cs typeface="+mj-cs"/>
            </a:endParaRPr>
          </a:p>
          <a:p>
            <a:pPr lvl="1" algn="ctr"/>
            <a:endParaRPr lang="pt-BR" sz="1200" b="1" spc="5" dirty="0">
              <a:solidFill>
                <a:srgbClr val="00A8AB"/>
              </a:solidFill>
              <a:latin typeface="Myriad Pro"/>
            </a:endParaRPr>
          </a:p>
        </p:txBody>
      </p:sp>
    </p:spTree>
    <p:extLst>
      <p:ext uri="{BB962C8B-B14F-4D97-AF65-F5344CB8AC3E}">
        <p14:creationId xmlns:p14="http://schemas.microsoft.com/office/powerpoint/2010/main" val="27577639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26697B95-E4DA-4B5D-948D-020BCA063D8D}"/>
              </a:ext>
            </a:extLst>
          </p:cNvPr>
          <p:cNvSpPr txBox="1">
            <a:spLocks/>
          </p:cNvSpPr>
          <p:nvPr/>
        </p:nvSpPr>
        <p:spPr>
          <a:xfrm>
            <a:off x="0" y="720080"/>
            <a:ext cx="9144000" cy="55552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1600" b="1" dirty="0">
                <a:solidFill>
                  <a:srgbClr val="253F93"/>
                </a:solidFill>
                <a:latin typeface="Myriad Pro"/>
              </a:rPr>
              <a:t>Investimentos no Saneamento no Brasil</a:t>
            </a:r>
          </a:p>
        </p:txBody>
      </p:sp>
      <p:pic>
        <p:nvPicPr>
          <p:cNvPr id="77" name="Picture 14" descr="Papier2">
            <a:extLst>
              <a:ext uri="{FF2B5EF4-FFF2-40B4-BE49-F238E27FC236}">
                <a16:creationId xmlns:a16="http://schemas.microsoft.com/office/drawing/2014/main" id="{079335C9-E155-4F0A-8116-129E6624C9C9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6" r="2007" b="3310"/>
          <a:stretch>
            <a:fillRect/>
          </a:stretch>
        </p:blipFill>
        <p:spPr bwMode="auto">
          <a:xfrm>
            <a:off x="432092" y="3893401"/>
            <a:ext cx="6156131" cy="1198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" name="Retângulo 79">
            <a:extLst>
              <a:ext uri="{FF2B5EF4-FFF2-40B4-BE49-F238E27FC236}">
                <a16:creationId xmlns:a16="http://schemas.microsoft.com/office/drawing/2014/main" id="{19C05C74-A857-4314-98CF-E023DF4D446C}"/>
              </a:ext>
            </a:extLst>
          </p:cNvPr>
          <p:cNvSpPr/>
          <p:nvPr/>
        </p:nvSpPr>
        <p:spPr>
          <a:xfrm>
            <a:off x="683568" y="4080916"/>
            <a:ext cx="5616624" cy="785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454545"/>
                </a:solidFill>
                <a:latin typeface="Myriad Pro"/>
              </a:rPr>
              <a:t>Segundo o </a:t>
            </a:r>
            <a:r>
              <a:rPr lang="pt-BR" sz="1600" dirty="0" err="1">
                <a:solidFill>
                  <a:srgbClr val="454545"/>
                </a:solidFill>
                <a:latin typeface="Myriad Pro"/>
              </a:rPr>
              <a:t>Plansab</a:t>
            </a:r>
            <a:r>
              <a:rPr lang="pt-BR" sz="1600" dirty="0">
                <a:solidFill>
                  <a:srgbClr val="454545"/>
                </a:solidFill>
                <a:latin typeface="Myriad Pro"/>
              </a:rPr>
              <a:t>, para universalização de água e esgoto esse investimento deve ser </a:t>
            </a:r>
            <a:r>
              <a:rPr lang="pt-BR" sz="1600" b="1" dirty="0">
                <a:solidFill>
                  <a:srgbClr val="00AEEF"/>
                </a:solidFill>
                <a:latin typeface="Myriad Pro"/>
              </a:rPr>
              <a:t>R$ 303 bilhões</a:t>
            </a:r>
            <a:r>
              <a:rPr lang="pt-BR" sz="1600" dirty="0">
                <a:solidFill>
                  <a:srgbClr val="454545"/>
                </a:solidFill>
                <a:latin typeface="Myriad Pro"/>
              </a:rPr>
              <a:t> em 20 anos</a:t>
            </a:r>
          </a:p>
        </p:txBody>
      </p:sp>
      <p:sp>
        <p:nvSpPr>
          <p:cNvPr id="86" name="Seta: Divisa 85">
            <a:extLst>
              <a:ext uri="{FF2B5EF4-FFF2-40B4-BE49-F238E27FC236}">
                <a16:creationId xmlns:a16="http://schemas.microsoft.com/office/drawing/2014/main" id="{ECC56CE1-5DC2-4FFF-B8FA-DF12DE462369}"/>
              </a:ext>
            </a:extLst>
          </p:cNvPr>
          <p:cNvSpPr/>
          <p:nvPr/>
        </p:nvSpPr>
        <p:spPr>
          <a:xfrm>
            <a:off x="436959" y="2147258"/>
            <a:ext cx="955982" cy="432048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2007</a:t>
            </a:r>
          </a:p>
        </p:txBody>
      </p:sp>
      <p:sp>
        <p:nvSpPr>
          <p:cNvPr id="95" name="Seta: Divisa 94">
            <a:extLst>
              <a:ext uri="{FF2B5EF4-FFF2-40B4-BE49-F238E27FC236}">
                <a16:creationId xmlns:a16="http://schemas.microsoft.com/office/drawing/2014/main" id="{DFC8FB8C-4A25-4141-86E2-C5179FBCCD30}"/>
              </a:ext>
            </a:extLst>
          </p:cNvPr>
          <p:cNvSpPr/>
          <p:nvPr/>
        </p:nvSpPr>
        <p:spPr>
          <a:xfrm>
            <a:off x="1259632" y="2147258"/>
            <a:ext cx="955982" cy="432048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2008</a:t>
            </a:r>
          </a:p>
        </p:txBody>
      </p:sp>
      <p:sp>
        <p:nvSpPr>
          <p:cNvPr id="96" name="Seta: Divisa 95">
            <a:extLst>
              <a:ext uri="{FF2B5EF4-FFF2-40B4-BE49-F238E27FC236}">
                <a16:creationId xmlns:a16="http://schemas.microsoft.com/office/drawing/2014/main" id="{CD4330CE-612A-46A1-84FC-2E2A9C9F1F66}"/>
              </a:ext>
            </a:extLst>
          </p:cNvPr>
          <p:cNvSpPr/>
          <p:nvPr/>
        </p:nvSpPr>
        <p:spPr>
          <a:xfrm>
            <a:off x="2064252" y="2147258"/>
            <a:ext cx="955982" cy="432048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2009</a:t>
            </a:r>
          </a:p>
        </p:txBody>
      </p:sp>
      <p:sp>
        <p:nvSpPr>
          <p:cNvPr id="97" name="Seta: Divisa 96">
            <a:extLst>
              <a:ext uri="{FF2B5EF4-FFF2-40B4-BE49-F238E27FC236}">
                <a16:creationId xmlns:a16="http://schemas.microsoft.com/office/drawing/2014/main" id="{02AA79EB-26CC-4E3E-B90A-316D387422F3}"/>
              </a:ext>
            </a:extLst>
          </p:cNvPr>
          <p:cNvSpPr/>
          <p:nvPr/>
        </p:nvSpPr>
        <p:spPr>
          <a:xfrm>
            <a:off x="2886925" y="2147258"/>
            <a:ext cx="955982" cy="432048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2010</a:t>
            </a:r>
          </a:p>
        </p:txBody>
      </p:sp>
      <p:sp>
        <p:nvSpPr>
          <p:cNvPr id="98" name="Seta: Divisa 97">
            <a:extLst>
              <a:ext uri="{FF2B5EF4-FFF2-40B4-BE49-F238E27FC236}">
                <a16:creationId xmlns:a16="http://schemas.microsoft.com/office/drawing/2014/main" id="{351990F5-377A-4CF1-ADDA-A1AC12B56F80}"/>
              </a:ext>
            </a:extLst>
          </p:cNvPr>
          <p:cNvSpPr/>
          <p:nvPr/>
        </p:nvSpPr>
        <p:spPr>
          <a:xfrm>
            <a:off x="3715551" y="2147258"/>
            <a:ext cx="955982" cy="432048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2011</a:t>
            </a:r>
          </a:p>
        </p:txBody>
      </p:sp>
      <p:sp>
        <p:nvSpPr>
          <p:cNvPr id="99" name="Seta: Divisa 98">
            <a:extLst>
              <a:ext uri="{FF2B5EF4-FFF2-40B4-BE49-F238E27FC236}">
                <a16:creationId xmlns:a16="http://schemas.microsoft.com/office/drawing/2014/main" id="{2DD3CE0E-450D-4427-BE39-4505B9CB7DA9}"/>
              </a:ext>
            </a:extLst>
          </p:cNvPr>
          <p:cNvSpPr/>
          <p:nvPr/>
        </p:nvSpPr>
        <p:spPr>
          <a:xfrm>
            <a:off x="4514218" y="2147258"/>
            <a:ext cx="955982" cy="432048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2012</a:t>
            </a:r>
          </a:p>
        </p:txBody>
      </p:sp>
      <p:sp>
        <p:nvSpPr>
          <p:cNvPr id="100" name="Seta: Divisa 99">
            <a:extLst>
              <a:ext uri="{FF2B5EF4-FFF2-40B4-BE49-F238E27FC236}">
                <a16:creationId xmlns:a16="http://schemas.microsoft.com/office/drawing/2014/main" id="{3B26B082-AFE8-4993-A05B-911B1E2E9AB1}"/>
              </a:ext>
            </a:extLst>
          </p:cNvPr>
          <p:cNvSpPr/>
          <p:nvPr/>
        </p:nvSpPr>
        <p:spPr>
          <a:xfrm>
            <a:off x="5324512" y="2147258"/>
            <a:ext cx="955982" cy="432048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2013</a:t>
            </a:r>
          </a:p>
        </p:txBody>
      </p:sp>
      <p:sp>
        <p:nvSpPr>
          <p:cNvPr id="101" name="Seta: Divisa 100">
            <a:extLst>
              <a:ext uri="{FF2B5EF4-FFF2-40B4-BE49-F238E27FC236}">
                <a16:creationId xmlns:a16="http://schemas.microsoft.com/office/drawing/2014/main" id="{6A69BCF9-26F4-4822-9A69-723B6B3EC656}"/>
              </a:ext>
            </a:extLst>
          </p:cNvPr>
          <p:cNvSpPr/>
          <p:nvPr/>
        </p:nvSpPr>
        <p:spPr>
          <a:xfrm>
            <a:off x="6123179" y="2149641"/>
            <a:ext cx="955982" cy="432048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2014</a:t>
            </a:r>
          </a:p>
        </p:txBody>
      </p:sp>
      <p:sp>
        <p:nvSpPr>
          <p:cNvPr id="102" name="Seta: Divisa 101">
            <a:extLst>
              <a:ext uri="{FF2B5EF4-FFF2-40B4-BE49-F238E27FC236}">
                <a16:creationId xmlns:a16="http://schemas.microsoft.com/office/drawing/2014/main" id="{88BCF4AB-1281-4BF9-959E-C18196938B11}"/>
              </a:ext>
            </a:extLst>
          </p:cNvPr>
          <p:cNvSpPr/>
          <p:nvPr/>
        </p:nvSpPr>
        <p:spPr>
          <a:xfrm>
            <a:off x="6921846" y="2139702"/>
            <a:ext cx="955982" cy="432048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2015</a:t>
            </a:r>
          </a:p>
        </p:txBody>
      </p:sp>
      <p:sp>
        <p:nvSpPr>
          <p:cNvPr id="103" name="Seta: Divisa 102">
            <a:extLst>
              <a:ext uri="{FF2B5EF4-FFF2-40B4-BE49-F238E27FC236}">
                <a16:creationId xmlns:a16="http://schemas.microsoft.com/office/drawing/2014/main" id="{E830A934-0DBF-48EA-B7A1-74BB80EA2A15}"/>
              </a:ext>
            </a:extLst>
          </p:cNvPr>
          <p:cNvSpPr/>
          <p:nvPr/>
        </p:nvSpPr>
        <p:spPr>
          <a:xfrm>
            <a:off x="7732140" y="2139702"/>
            <a:ext cx="955982" cy="432048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2016</a:t>
            </a:r>
          </a:p>
        </p:txBody>
      </p:sp>
      <p:sp>
        <p:nvSpPr>
          <p:cNvPr id="105" name="Retângulo: Cantos Arredondados 104">
            <a:extLst>
              <a:ext uri="{FF2B5EF4-FFF2-40B4-BE49-F238E27FC236}">
                <a16:creationId xmlns:a16="http://schemas.microsoft.com/office/drawing/2014/main" id="{6ECFD45E-32ED-4EED-8CAC-15FC0F442092}"/>
              </a:ext>
            </a:extLst>
          </p:cNvPr>
          <p:cNvSpPr/>
          <p:nvPr/>
        </p:nvSpPr>
        <p:spPr>
          <a:xfrm>
            <a:off x="0" y="1200477"/>
            <a:ext cx="9144000" cy="55552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6" name="CaixaDeTexto 105">
            <a:extLst>
              <a:ext uri="{FF2B5EF4-FFF2-40B4-BE49-F238E27FC236}">
                <a16:creationId xmlns:a16="http://schemas.microsoft.com/office/drawing/2014/main" id="{F6993AB5-277A-4B0E-BF56-26A79A7BBFAD}"/>
              </a:ext>
            </a:extLst>
          </p:cNvPr>
          <p:cNvSpPr txBox="1"/>
          <p:nvPr/>
        </p:nvSpPr>
        <p:spPr>
          <a:xfrm>
            <a:off x="395536" y="1219562"/>
            <a:ext cx="86409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Os níveis de </a:t>
            </a:r>
            <a:r>
              <a:rPr lang="pt-BR" sz="1200" b="1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investimento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 em saneamento no Brasil são </a:t>
            </a:r>
            <a:r>
              <a:rPr lang="pt-BR" sz="1200" b="1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muito inferiores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à necessidade para universalização, mesmo com o PAC.</a:t>
            </a:r>
            <a:endParaRPr lang="pt-BR" sz="1200" b="1" dirty="0">
              <a:solidFill>
                <a:schemeClr val="accent1">
                  <a:lumMod val="75000"/>
                </a:schemeClr>
              </a:solidFill>
              <a:latin typeface="Myriad Pro"/>
            </a:endParaRPr>
          </a:p>
          <a:p>
            <a:endParaRPr lang="pt-BR" sz="1200" spc="5" dirty="0">
              <a:solidFill>
                <a:srgbClr val="253F93"/>
              </a:solidFill>
              <a:latin typeface="Myriad Pro"/>
              <a:ea typeface="+mj-ea"/>
              <a:cs typeface="+mj-cs"/>
            </a:endParaRPr>
          </a:p>
          <a:p>
            <a:pPr lvl="1"/>
            <a:endParaRPr lang="pt-BR" sz="1200" b="1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109" name="Elipse 108">
            <a:extLst>
              <a:ext uri="{FF2B5EF4-FFF2-40B4-BE49-F238E27FC236}">
                <a16:creationId xmlns:a16="http://schemas.microsoft.com/office/drawing/2014/main" id="{0EBA1649-F8D1-46FA-A731-D9942AB099F5}"/>
              </a:ext>
            </a:extLst>
          </p:cNvPr>
          <p:cNvSpPr/>
          <p:nvPr/>
        </p:nvSpPr>
        <p:spPr>
          <a:xfrm>
            <a:off x="467544" y="2499742"/>
            <a:ext cx="720080" cy="4320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4,2bi</a:t>
            </a:r>
          </a:p>
        </p:txBody>
      </p:sp>
      <p:sp>
        <p:nvSpPr>
          <p:cNvPr id="110" name="Elipse 109">
            <a:extLst>
              <a:ext uri="{FF2B5EF4-FFF2-40B4-BE49-F238E27FC236}">
                <a16:creationId xmlns:a16="http://schemas.microsoft.com/office/drawing/2014/main" id="{603DF5AF-FEB2-4307-9D09-E838C621EF36}"/>
              </a:ext>
            </a:extLst>
          </p:cNvPr>
          <p:cNvSpPr/>
          <p:nvPr/>
        </p:nvSpPr>
        <p:spPr>
          <a:xfrm>
            <a:off x="1277838" y="2482738"/>
            <a:ext cx="720080" cy="4320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5,6bi</a:t>
            </a:r>
          </a:p>
        </p:txBody>
      </p:sp>
      <p:sp>
        <p:nvSpPr>
          <p:cNvPr id="111" name="Elipse 110">
            <a:extLst>
              <a:ext uri="{FF2B5EF4-FFF2-40B4-BE49-F238E27FC236}">
                <a16:creationId xmlns:a16="http://schemas.microsoft.com/office/drawing/2014/main" id="{9FDFFFCC-916B-4333-B5C4-E263940958E9}"/>
              </a:ext>
            </a:extLst>
          </p:cNvPr>
          <p:cNvSpPr/>
          <p:nvPr/>
        </p:nvSpPr>
        <p:spPr>
          <a:xfrm>
            <a:off x="2090198" y="2482738"/>
            <a:ext cx="720080" cy="4320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7,8bi</a:t>
            </a:r>
          </a:p>
        </p:txBody>
      </p:sp>
      <p:sp>
        <p:nvSpPr>
          <p:cNvPr id="112" name="Elipse 111">
            <a:extLst>
              <a:ext uri="{FF2B5EF4-FFF2-40B4-BE49-F238E27FC236}">
                <a16:creationId xmlns:a16="http://schemas.microsoft.com/office/drawing/2014/main" id="{0655D8AD-D8CE-4AE9-A94E-8072E454FB69}"/>
              </a:ext>
            </a:extLst>
          </p:cNvPr>
          <p:cNvSpPr/>
          <p:nvPr/>
        </p:nvSpPr>
        <p:spPr>
          <a:xfrm>
            <a:off x="2902936" y="2482738"/>
            <a:ext cx="720080" cy="4320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8,9bi</a:t>
            </a:r>
          </a:p>
        </p:txBody>
      </p:sp>
      <p:sp>
        <p:nvSpPr>
          <p:cNvPr id="113" name="Elipse 112">
            <a:extLst>
              <a:ext uri="{FF2B5EF4-FFF2-40B4-BE49-F238E27FC236}">
                <a16:creationId xmlns:a16="http://schemas.microsoft.com/office/drawing/2014/main" id="{F812FEB8-0422-4244-A136-4BAE135D8EFD}"/>
              </a:ext>
            </a:extLst>
          </p:cNvPr>
          <p:cNvSpPr/>
          <p:nvPr/>
        </p:nvSpPr>
        <p:spPr>
          <a:xfrm>
            <a:off x="3728182" y="2484492"/>
            <a:ext cx="720080" cy="4320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10,9bi</a:t>
            </a:r>
          </a:p>
        </p:txBody>
      </p:sp>
      <p:sp>
        <p:nvSpPr>
          <p:cNvPr id="114" name="Elipse 113">
            <a:extLst>
              <a:ext uri="{FF2B5EF4-FFF2-40B4-BE49-F238E27FC236}">
                <a16:creationId xmlns:a16="http://schemas.microsoft.com/office/drawing/2014/main" id="{48066FAA-F0A9-4F84-83CC-A04F9A7C67E8}"/>
              </a:ext>
            </a:extLst>
          </p:cNvPr>
          <p:cNvSpPr/>
          <p:nvPr/>
        </p:nvSpPr>
        <p:spPr>
          <a:xfrm>
            <a:off x="4508201" y="2495762"/>
            <a:ext cx="720080" cy="4320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12,1bi</a:t>
            </a:r>
          </a:p>
        </p:txBody>
      </p:sp>
      <p:sp>
        <p:nvSpPr>
          <p:cNvPr id="115" name="Elipse 114">
            <a:extLst>
              <a:ext uri="{FF2B5EF4-FFF2-40B4-BE49-F238E27FC236}">
                <a16:creationId xmlns:a16="http://schemas.microsoft.com/office/drawing/2014/main" id="{542599FC-06EA-41EB-B431-0CE455200540}"/>
              </a:ext>
            </a:extLst>
          </p:cNvPr>
          <p:cNvSpPr/>
          <p:nvPr/>
        </p:nvSpPr>
        <p:spPr>
          <a:xfrm>
            <a:off x="5343856" y="2476264"/>
            <a:ext cx="720080" cy="4320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12,2bi</a:t>
            </a:r>
          </a:p>
        </p:txBody>
      </p:sp>
      <p:sp>
        <p:nvSpPr>
          <p:cNvPr id="116" name="Elipse 115">
            <a:extLst>
              <a:ext uri="{FF2B5EF4-FFF2-40B4-BE49-F238E27FC236}">
                <a16:creationId xmlns:a16="http://schemas.microsoft.com/office/drawing/2014/main" id="{B171640B-C5A5-404F-9381-CD0CB3021E69}"/>
              </a:ext>
            </a:extLst>
          </p:cNvPr>
          <p:cNvSpPr/>
          <p:nvPr/>
        </p:nvSpPr>
        <p:spPr>
          <a:xfrm>
            <a:off x="6144085" y="2482738"/>
            <a:ext cx="720080" cy="43204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13,3bi</a:t>
            </a:r>
          </a:p>
        </p:txBody>
      </p:sp>
      <p:sp>
        <p:nvSpPr>
          <p:cNvPr id="117" name="Elipse 116">
            <a:extLst>
              <a:ext uri="{FF2B5EF4-FFF2-40B4-BE49-F238E27FC236}">
                <a16:creationId xmlns:a16="http://schemas.microsoft.com/office/drawing/2014/main" id="{5BE91076-803E-4359-8B4E-D91A1F0A6C3B}"/>
              </a:ext>
            </a:extLst>
          </p:cNvPr>
          <p:cNvSpPr/>
          <p:nvPr/>
        </p:nvSpPr>
        <p:spPr>
          <a:xfrm>
            <a:off x="6933473" y="2482738"/>
            <a:ext cx="720080" cy="43204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13,2bi</a:t>
            </a:r>
          </a:p>
        </p:txBody>
      </p:sp>
      <p:sp>
        <p:nvSpPr>
          <p:cNvPr id="118" name="Elipse 117">
            <a:extLst>
              <a:ext uri="{FF2B5EF4-FFF2-40B4-BE49-F238E27FC236}">
                <a16:creationId xmlns:a16="http://schemas.microsoft.com/office/drawing/2014/main" id="{C50F964D-6037-4959-83C9-96B2B20CF714}"/>
              </a:ext>
            </a:extLst>
          </p:cNvPr>
          <p:cNvSpPr/>
          <p:nvPr/>
        </p:nvSpPr>
        <p:spPr>
          <a:xfrm>
            <a:off x="7740352" y="2476264"/>
            <a:ext cx="720080" cy="43204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900" dirty="0">
                <a:solidFill>
                  <a:schemeClr val="tx1"/>
                </a:solidFill>
                <a:latin typeface="Myriad Pro"/>
              </a:rPr>
              <a:t>11,5bi</a:t>
            </a:r>
          </a:p>
        </p:txBody>
      </p:sp>
      <p:cxnSp>
        <p:nvCxnSpPr>
          <p:cNvPr id="121" name="Conector de Seta Reta 120">
            <a:extLst>
              <a:ext uri="{FF2B5EF4-FFF2-40B4-BE49-F238E27FC236}">
                <a16:creationId xmlns:a16="http://schemas.microsoft.com/office/drawing/2014/main" id="{24CBE915-CF44-4197-83FC-A10BAC555FC8}"/>
              </a:ext>
            </a:extLst>
          </p:cNvPr>
          <p:cNvCxnSpPr/>
          <p:nvPr/>
        </p:nvCxnSpPr>
        <p:spPr>
          <a:xfrm>
            <a:off x="827584" y="3003798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tângulo 121">
            <a:extLst>
              <a:ext uri="{FF2B5EF4-FFF2-40B4-BE49-F238E27FC236}">
                <a16:creationId xmlns:a16="http://schemas.microsoft.com/office/drawing/2014/main" id="{8954D30F-FF06-4C23-A239-DCD68B572E31}"/>
              </a:ext>
            </a:extLst>
          </p:cNvPr>
          <p:cNvSpPr/>
          <p:nvPr/>
        </p:nvSpPr>
        <p:spPr>
          <a:xfrm>
            <a:off x="251520" y="3269517"/>
            <a:ext cx="1838675" cy="2743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900" dirty="0">
                <a:solidFill>
                  <a:srgbClr val="454545"/>
                </a:solidFill>
                <a:latin typeface="Myriad Pro"/>
              </a:rPr>
              <a:t>Marco regulatório 11.445</a:t>
            </a:r>
          </a:p>
        </p:txBody>
      </p:sp>
      <p:cxnSp>
        <p:nvCxnSpPr>
          <p:cNvPr id="125" name="Conector de Seta Reta 124">
            <a:extLst>
              <a:ext uri="{FF2B5EF4-FFF2-40B4-BE49-F238E27FC236}">
                <a16:creationId xmlns:a16="http://schemas.microsoft.com/office/drawing/2014/main" id="{08C92C4C-0C40-41CA-A9B1-89C9F5A419F3}"/>
              </a:ext>
            </a:extLst>
          </p:cNvPr>
          <p:cNvCxnSpPr/>
          <p:nvPr/>
        </p:nvCxnSpPr>
        <p:spPr>
          <a:xfrm>
            <a:off x="7308304" y="3003798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Conector de Seta Reta 125">
            <a:extLst>
              <a:ext uri="{FF2B5EF4-FFF2-40B4-BE49-F238E27FC236}">
                <a16:creationId xmlns:a16="http://schemas.microsoft.com/office/drawing/2014/main" id="{3984915E-4CF7-45D0-A1C1-817E26A8BE45}"/>
              </a:ext>
            </a:extLst>
          </p:cNvPr>
          <p:cNvCxnSpPr/>
          <p:nvPr/>
        </p:nvCxnSpPr>
        <p:spPr>
          <a:xfrm>
            <a:off x="8100392" y="3003798"/>
            <a:ext cx="0" cy="2880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Retângulo 126">
            <a:extLst>
              <a:ext uri="{FF2B5EF4-FFF2-40B4-BE49-F238E27FC236}">
                <a16:creationId xmlns:a16="http://schemas.microsoft.com/office/drawing/2014/main" id="{AF455424-9579-4DAA-9543-E3A5299C961E}"/>
              </a:ext>
            </a:extLst>
          </p:cNvPr>
          <p:cNvSpPr/>
          <p:nvPr/>
        </p:nvSpPr>
        <p:spPr>
          <a:xfrm>
            <a:off x="6812802" y="3380842"/>
            <a:ext cx="1838675" cy="2743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900" dirty="0">
                <a:solidFill>
                  <a:srgbClr val="454545"/>
                </a:solidFill>
                <a:latin typeface="Myriad Pro"/>
              </a:rPr>
              <a:t>Redução do investimento</a:t>
            </a:r>
          </a:p>
        </p:txBody>
      </p:sp>
      <p:sp>
        <p:nvSpPr>
          <p:cNvPr id="128" name="CaixaDeTexto 127">
            <a:extLst>
              <a:ext uri="{FF2B5EF4-FFF2-40B4-BE49-F238E27FC236}">
                <a16:creationId xmlns:a16="http://schemas.microsoft.com/office/drawing/2014/main" id="{37DFEEC7-D25B-4D4C-8BF0-6687EE8DE64A}"/>
              </a:ext>
            </a:extLst>
          </p:cNvPr>
          <p:cNvSpPr txBox="1"/>
          <p:nvPr/>
        </p:nvSpPr>
        <p:spPr>
          <a:xfrm>
            <a:off x="35496" y="3547426"/>
            <a:ext cx="345638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1" u="none" strike="noStrike" kern="1200" cap="none" spc="0" normalizeH="0" baseline="0" noProof="0" dirty="0">
                <a:ln>
                  <a:noFill/>
                </a:ln>
                <a:solidFill>
                  <a:srgbClr val="253F9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Fonte: </a:t>
            </a:r>
            <a:r>
              <a:rPr kumimoji="0" lang="pt-BR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253F9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Snis</a:t>
            </a:r>
            <a:endParaRPr kumimoji="0" lang="pt-BR" sz="800" b="0" i="1" u="none" strike="noStrike" kern="1200" cap="none" spc="0" normalizeH="0" baseline="0" noProof="0" dirty="0">
              <a:ln>
                <a:noFill/>
              </a:ln>
              <a:solidFill>
                <a:srgbClr val="253F93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33349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26697B95-E4DA-4B5D-948D-020BCA063D8D}"/>
              </a:ext>
            </a:extLst>
          </p:cNvPr>
          <p:cNvSpPr txBox="1">
            <a:spLocks/>
          </p:cNvSpPr>
          <p:nvPr/>
        </p:nvSpPr>
        <p:spPr>
          <a:xfrm>
            <a:off x="0" y="720080"/>
            <a:ext cx="9144000" cy="55552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1600" b="1" dirty="0">
                <a:solidFill>
                  <a:srgbClr val="253F93"/>
                </a:solidFill>
                <a:latin typeface="Myriad Pro"/>
              </a:rPr>
              <a:t>Estrutura da Prestação de Serviços de Água e Esgoto </a:t>
            </a:r>
          </a:p>
        </p:txBody>
      </p:sp>
      <p:sp>
        <p:nvSpPr>
          <p:cNvPr id="41" name="CaixaDeTexto 40">
            <a:extLst>
              <a:ext uri="{FF2B5EF4-FFF2-40B4-BE49-F238E27FC236}">
                <a16:creationId xmlns:a16="http://schemas.microsoft.com/office/drawing/2014/main" id="{64A6C27C-752A-4E55-AEE7-D428BBFF29BD}"/>
              </a:ext>
            </a:extLst>
          </p:cNvPr>
          <p:cNvSpPr txBox="1"/>
          <p:nvPr/>
        </p:nvSpPr>
        <p:spPr>
          <a:xfrm>
            <a:off x="179512" y="4855681"/>
            <a:ext cx="23042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i="1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Fonte:  Panorama 2018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C8BC87E7-3976-49BA-B838-CC552EC8FFED}"/>
              </a:ext>
            </a:extLst>
          </p:cNvPr>
          <p:cNvSpPr/>
          <p:nvPr/>
        </p:nvSpPr>
        <p:spPr>
          <a:xfrm>
            <a:off x="4078221" y="3801835"/>
            <a:ext cx="216024" cy="173887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>
              <a:latin typeface="Myriad Pro"/>
            </a:endParaRP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572A8A89-2C6F-44E2-810C-3988DE9214FD}"/>
              </a:ext>
            </a:extLst>
          </p:cNvPr>
          <p:cNvSpPr/>
          <p:nvPr/>
        </p:nvSpPr>
        <p:spPr>
          <a:xfrm>
            <a:off x="4078221" y="2624793"/>
            <a:ext cx="216024" cy="173887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 dirty="0">
              <a:latin typeface="Myriad Pro"/>
            </a:endParaRP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FD605823-3DDB-494B-AFD0-45DFDDBB051E}"/>
              </a:ext>
            </a:extLst>
          </p:cNvPr>
          <p:cNvSpPr/>
          <p:nvPr/>
        </p:nvSpPr>
        <p:spPr>
          <a:xfrm>
            <a:off x="4078221" y="1465623"/>
            <a:ext cx="216024" cy="17388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900" dirty="0">
              <a:latin typeface="Myriad Pro"/>
            </a:endParaRPr>
          </a:p>
        </p:txBody>
      </p:sp>
      <p:sp>
        <p:nvSpPr>
          <p:cNvPr id="45" name="CaixaDeTexto 44">
            <a:extLst>
              <a:ext uri="{FF2B5EF4-FFF2-40B4-BE49-F238E27FC236}">
                <a16:creationId xmlns:a16="http://schemas.microsoft.com/office/drawing/2014/main" id="{88CCA627-E9E3-41B5-991F-7E20EF59B975}"/>
              </a:ext>
            </a:extLst>
          </p:cNvPr>
          <p:cNvSpPr txBox="1"/>
          <p:nvPr/>
        </p:nvSpPr>
        <p:spPr>
          <a:xfrm>
            <a:off x="4479170" y="2512516"/>
            <a:ext cx="45573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b="1" dirty="0">
                <a:solidFill>
                  <a:srgbClr val="002060"/>
                </a:solidFill>
                <a:latin typeface="Myriad Pro"/>
              </a:rPr>
              <a:t>71%</a:t>
            </a:r>
          </a:p>
          <a:p>
            <a:r>
              <a:rPr lang="pt-BR" sz="900" b="1" dirty="0">
                <a:solidFill>
                  <a:srgbClr val="002060"/>
                </a:solidFill>
                <a:latin typeface="Myriad Pro"/>
              </a:rPr>
              <a:t>Prestadores Regionais Públicos</a:t>
            </a:r>
          </a:p>
          <a:p>
            <a:endParaRPr lang="pt-BR" sz="900" dirty="0">
              <a:solidFill>
                <a:schemeClr val="accent1">
                  <a:lumMod val="75000"/>
                </a:schemeClr>
              </a:solidFill>
              <a:latin typeface="Myriad Pro"/>
            </a:endParaRPr>
          </a:p>
          <a:p>
            <a:r>
              <a:rPr lang="pt-BR" sz="9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São 24 empresas:</a:t>
            </a:r>
          </a:p>
          <a:p>
            <a:r>
              <a:rPr lang="pt-BR" sz="9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Autarquias, Empresas Públicas e Sociedade de </a:t>
            </a:r>
            <a:r>
              <a:rPr lang="pt-BR" sz="900" dirty="0" err="1">
                <a:solidFill>
                  <a:schemeClr val="accent1">
                    <a:lumMod val="75000"/>
                  </a:schemeClr>
                </a:solidFill>
                <a:latin typeface="Myriad Pro"/>
              </a:rPr>
              <a:t>Econimia</a:t>
            </a:r>
            <a:r>
              <a:rPr lang="pt-BR" sz="9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 Mista.</a:t>
            </a:r>
          </a:p>
          <a:p>
            <a:r>
              <a:rPr lang="pt-BR" sz="9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Inclui todos os prestadores regionais (</a:t>
            </a:r>
            <a:r>
              <a:rPr lang="pt-BR" sz="900" dirty="0" err="1">
                <a:solidFill>
                  <a:schemeClr val="accent1">
                    <a:lumMod val="75000"/>
                  </a:schemeClr>
                </a:solidFill>
                <a:latin typeface="Myriad Pro"/>
              </a:rPr>
              <a:t>CIAs</a:t>
            </a:r>
            <a:r>
              <a:rPr lang="pt-BR" sz="9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. Estaduais), exceto </a:t>
            </a:r>
            <a:r>
              <a:rPr lang="pt-BR" sz="900" dirty="0" err="1">
                <a:solidFill>
                  <a:schemeClr val="accent1">
                    <a:lumMod val="75000"/>
                  </a:schemeClr>
                </a:solidFill>
                <a:latin typeface="Myriad Pro"/>
              </a:rPr>
              <a:t>Saneatins</a:t>
            </a:r>
            <a:r>
              <a:rPr lang="pt-BR" sz="9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/TO.</a:t>
            </a:r>
          </a:p>
        </p:txBody>
      </p:sp>
      <p:sp>
        <p:nvSpPr>
          <p:cNvPr id="46" name="CaixaDeTexto 45">
            <a:extLst>
              <a:ext uri="{FF2B5EF4-FFF2-40B4-BE49-F238E27FC236}">
                <a16:creationId xmlns:a16="http://schemas.microsoft.com/office/drawing/2014/main" id="{640AF828-3DB2-447E-AF7C-E7BBBCC4C7C6}"/>
              </a:ext>
            </a:extLst>
          </p:cNvPr>
          <p:cNvSpPr txBox="1"/>
          <p:nvPr/>
        </p:nvSpPr>
        <p:spPr>
          <a:xfrm>
            <a:off x="4429571" y="1360388"/>
            <a:ext cx="45573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b="1" dirty="0">
                <a:solidFill>
                  <a:schemeClr val="accent2">
                    <a:lumMod val="75000"/>
                  </a:schemeClr>
                </a:solidFill>
                <a:latin typeface="Myriad Pro"/>
              </a:rPr>
              <a:t>27%</a:t>
            </a:r>
          </a:p>
          <a:p>
            <a:r>
              <a:rPr lang="pt-BR" sz="900" b="1" dirty="0">
                <a:solidFill>
                  <a:schemeClr val="accent2">
                    <a:lumMod val="75000"/>
                  </a:schemeClr>
                </a:solidFill>
                <a:latin typeface="Myriad Pro"/>
              </a:rPr>
              <a:t>Prestadores Locais e Microrregionais Públicos</a:t>
            </a:r>
          </a:p>
          <a:p>
            <a:endParaRPr lang="pt-BR" sz="900" dirty="0">
              <a:solidFill>
                <a:schemeClr val="accent1">
                  <a:lumMod val="75000"/>
                </a:schemeClr>
              </a:solidFill>
              <a:latin typeface="Myriad Pro"/>
            </a:endParaRPr>
          </a:p>
          <a:p>
            <a:r>
              <a:rPr lang="pt-BR" sz="9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Inclui Autarquias, Administração Pública direta, Sociedade de</a:t>
            </a:r>
          </a:p>
          <a:p>
            <a:r>
              <a:rPr lang="pt-BR" sz="9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Economia Mista com Administração Pública, Empresas Públicas</a:t>
            </a:r>
          </a:p>
          <a:p>
            <a:r>
              <a:rPr lang="pt-BR" sz="9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e Organizações Sociais.</a:t>
            </a:r>
          </a:p>
        </p:txBody>
      </p:sp>
      <p:grpSp>
        <p:nvGrpSpPr>
          <p:cNvPr id="47" name="Agrupar 46">
            <a:extLst>
              <a:ext uri="{FF2B5EF4-FFF2-40B4-BE49-F238E27FC236}">
                <a16:creationId xmlns:a16="http://schemas.microsoft.com/office/drawing/2014/main" id="{8AA41D88-7295-4753-81F6-C04EE3F26E26}"/>
              </a:ext>
            </a:extLst>
          </p:cNvPr>
          <p:cNvGrpSpPr/>
          <p:nvPr/>
        </p:nvGrpSpPr>
        <p:grpSpPr>
          <a:xfrm>
            <a:off x="467544" y="1198045"/>
            <a:ext cx="3326563" cy="3563660"/>
            <a:chOff x="683568" y="704108"/>
            <a:chExt cx="3326563" cy="3563660"/>
          </a:xfrm>
        </p:grpSpPr>
        <p:pic>
          <p:nvPicPr>
            <p:cNvPr id="48" name="Imagem 47">
              <a:extLst>
                <a:ext uri="{FF2B5EF4-FFF2-40B4-BE49-F238E27FC236}">
                  <a16:creationId xmlns:a16="http://schemas.microsoft.com/office/drawing/2014/main" id="{DA9BD631-F439-4FEB-BD8C-4C1B00169CA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87" b="27379"/>
            <a:stretch/>
          </p:blipFill>
          <p:spPr>
            <a:xfrm>
              <a:off x="705977" y="704108"/>
              <a:ext cx="3304154" cy="3563660"/>
            </a:xfrm>
            <a:prstGeom prst="rect">
              <a:avLst/>
            </a:prstGeom>
          </p:spPr>
        </p:pic>
        <p:sp>
          <p:nvSpPr>
            <p:cNvPr id="49" name="Retângulo 48">
              <a:extLst>
                <a:ext uri="{FF2B5EF4-FFF2-40B4-BE49-F238E27FC236}">
                  <a16:creationId xmlns:a16="http://schemas.microsoft.com/office/drawing/2014/main" id="{36311ED1-C76E-43B0-AB46-DFC95CDB250A}"/>
                </a:ext>
              </a:extLst>
            </p:cNvPr>
            <p:cNvSpPr/>
            <p:nvPr/>
          </p:nvSpPr>
          <p:spPr>
            <a:xfrm>
              <a:off x="683568" y="2569882"/>
              <a:ext cx="864096" cy="16944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900">
                <a:latin typeface="Myriad Pro"/>
              </a:endParaRPr>
            </a:p>
          </p:txBody>
        </p:sp>
      </p:grp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3F65C1FD-B996-45C2-87FF-D3CFBF69BBA8}"/>
              </a:ext>
            </a:extLst>
          </p:cNvPr>
          <p:cNvSpPr txBox="1"/>
          <p:nvPr/>
        </p:nvSpPr>
        <p:spPr>
          <a:xfrm>
            <a:off x="4479170" y="3736652"/>
            <a:ext cx="45573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b="1" dirty="0">
                <a:solidFill>
                  <a:srgbClr val="FFC000"/>
                </a:solidFill>
                <a:latin typeface="Myriad Pro"/>
              </a:rPr>
              <a:t>6% [322 Municípios]</a:t>
            </a:r>
          </a:p>
          <a:p>
            <a:r>
              <a:rPr lang="pt-BR" sz="900" b="1" dirty="0">
                <a:solidFill>
                  <a:srgbClr val="FFC000"/>
                </a:solidFill>
                <a:latin typeface="Myriad Pro"/>
              </a:rPr>
              <a:t>Prestadores Privados</a:t>
            </a:r>
          </a:p>
          <a:p>
            <a:endParaRPr lang="pt-BR" sz="900" dirty="0">
              <a:solidFill>
                <a:schemeClr val="accent1">
                  <a:lumMod val="75000"/>
                </a:schemeClr>
              </a:solidFill>
              <a:latin typeface="Myriad Pro"/>
            </a:endParaRPr>
          </a:p>
          <a:p>
            <a:r>
              <a:rPr lang="pt-BR" sz="9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Inclui prestadores regionais, microrregionais e locais de toda</a:t>
            </a:r>
          </a:p>
          <a:p>
            <a:r>
              <a:rPr lang="pt-BR" sz="9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modalidade de contrato.</a:t>
            </a:r>
          </a:p>
          <a:p>
            <a:endParaRPr lang="pt-BR" sz="900" dirty="0">
              <a:solidFill>
                <a:schemeClr val="accent1">
                  <a:lumMod val="75000"/>
                </a:schemeClr>
              </a:solidFill>
              <a:latin typeface="Myriad Pro"/>
            </a:endParaRPr>
          </a:p>
        </p:txBody>
      </p:sp>
    </p:spTree>
    <p:extLst>
      <p:ext uri="{BB962C8B-B14F-4D97-AF65-F5344CB8AC3E}">
        <p14:creationId xmlns:p14="http://schemas.microsoft.com/office/powerpoint/2010/main" val="27308689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id="{E53C0796-B1D2-45A1-836C-BE17C7BA30D2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1600" b="1" dirty="0">
                <a:solidFill>
                  <a:srgbClr val="253F93"/>
                </a:solidFill>
                <a:latin typeface="Myriad Pro"/>
              </a:rPr>
              <a:t>Regulação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D89D284C-AB1E-4877-A581-A436BB2C824B}"/>
              </a:ext>
            </a:extLst>
          </p:cNvPr>
          <p:cNvSpPr txBox="1"/>
          <p:nvPr/>
        </p:nvSpPr>
        <p:spPr>
          <a:xfrm>
            <a:off x="251520" y="1401265"/>
            <a:ext cx="8712968" cy="29706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rgbClr val="253F93"/>
                </a:solidFill>
                <a:latin typeface="Myriad Pro"/>
              </a:rPr>
              <a:t>Lei 11445/2007 prevê que os titulares dos serviços poderão delegar a regulação e fiscalização;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rgbClr val="253F93"/>
                </a:solidFill>
                <a:latin typeface="Myriad Pro"/>
              </a:rPr>
              <a:t>MP 844/2018 estabelece que  em regiões Metropolitanas, Aglomerações Urbanas e Microrregiões, a regulação e a fiscalização serão de entidade estadual/ distrital, regional ou intermunicipal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050" dirty="0">
              <a:solidFill>
                <a:srgbClr val="253F93"/>
              </a:solidFill>
              <a:latin typeface="Myriad Pro"/>
            </a:endParaRPr>
          </a:p>
          <a:p>
            <a:pPr>
              <a:lnSpc>
                <a:spcPct val="150000"/>
              </a:lnSpc>
            </a:pPr>
            <a:r>
              <a:rPr lang="pt-BR" sz="1050" b="1" dirty="0">
                <a:solidFill>
                  <a:srgbClr val="253F93"/>
                </a:solidFill>
                <a:latin typeface="Myriad Pro"/>
              </a:rPr>
              <a:t>Situação Atual: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pt-BR" sz="1050" b="1" dirty="0">
                <a:solidFill>
                  <a:srgbClr val="009999"/>
                </a:solidFill>
                <a:latin typeface="Myriad Pro"/>
              </a:rPr>
              <a:t>49 </a:t>
            </a:r>
            <a:r>
              <a:rPr lang="pt-BR" sz="1050" b="1" dirty="0">
                <a:solidFill>
                  <a:srgbClr val="253F93"/>
                </a:solidFill>
                <a:latin typeface="Myriad Pro"/>
              </a:rPr>
              <a:t>Agências regulam </a:t>
            </a:r>
            <a:r>
              <a:rPr lang="pt-BR" sz="1050" b="1" dirty="0">
                <a:solidFill>
                  <a:srgbClr val="009999"/>
                </a:solidFill>
                <a:latin typeface="Myriad Pro"/>
              </a:rPr>
              <a:t>2906</a:t>
            </a:r>
            <a:r>
              <a:rPr lang="pt-BR" sz="1050" b="1" dirty="0">
                <a:solidFill>
                  <a:srgbClr val="253F93"/>
                </a:solidFill>
                <a:latin typeface="Myriad Pro"/>
              </a:rPr>
              <a:t> município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rgbClr val="253F93"/>
                </a:solidFill>
                <a:latin typeface="Myriad Pro"/>
              </a:rPr>
              <a:t>22 estaduai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rgbClr val="253F93"/>
                </a:solidFill>
                <a:latin typeface="Myriad Pro"/>
              </a:rPr>
              <a:t>23 municipai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rgbClr val="253F93"/>
                </a:solidFill>
                <a:latin typeface="Myriad Pro"/>
              </a:rPr>
              <a:t>1 distrital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rgbClr val="253F93"/>
                </a:solidFill>
                <a:latin typeface="Myriad Pro"/>
              </a:rPr>
              <a:t>3 intermunicipais (Consórcios)</a:t>
            </a:r>
          </a:p>
          <a:p>
            <a:pPr>
              <a:lnSpc>
                <a:spcPct val="150000"/>
              </a:lnSpc>
            </a:pPr>
            <a:endParaRPr lang="pt-BR" sz="1050" dirty="0">
              <a:solidFill>
                <a:srgbClr val="253F93"/>
              </a:solidFill>
              <a:latin typeface="Myriad Pro"/>
            </a:endParaRPr>
          </a:p>
          <a:p>
            <a:pPr>
              <a:lnSpc>
                <a:spcPct val="150000"/>
              </a:lnSpc>
            </a:pPr>
            <a:r>
              <a:rPr lang="pt-BR" sz="1050" b="1" dirty="0" err="1">
                <a:solidFill>
                  <a:srgbClr val="009999"/>
                </a:solidFill>
                <a:latin typeface="Myriad Pro"/>
              </a:rPr>
              <a:t>Obs</a:t>
            </a:r>
            <a:r>
              <a:rPr lang="pt-BR" sz="1050" b="1" dirty="0">
                <a:solidFill>
                  <a:srgbClr val="009999"/>
                </a:solidFill>
                <a:latin typeface="Myriad Pro"/>
              </a:rPr>
              <a:t>: Mais de 2600 municípios sem nenhuma regulação</a:t>
            </a:r>
          </a:p>
        </p:txBody>
      </p:sp>
    </p:spTree>
    <p:extLst>
      <p:ext uri="{BB962C8B-B14F-4D97-AF65-F5344CB8AC3E}">
        <p14:creationId xmlns:p14="http://schemas.microsoft.com/office/powerpoint/2010/main" val="34046980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id="{E53C0796-B1D2-45A1-836C-BE17C7BA30D2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1600" b="1" dirty="0">
                <a:solidFill>
                  <a:srgbClr val="253F93"/>
                </a:solidFill>
                <a:latin typeface="Myriad Pro"/>
              </a:rPr>
              <a:t>Financiamento</a:t>
            </a:r>
          </a:p>
        </p:txBody>
      </p:sp>
      <p:pic>
        <p:nvPicPr>
          <p:cNvPr id="4" name="Picture 2" descr="http://www.bndes.gov.br/SiteBNDES/bndes/imagens/marca_bndes.jpg">
            <a:extLst>
              <a:ext uri="{FF2B5EF4-FFF2-40B4-BE49-F238E27FC236}">
                <a16:creationId xmlns:a16="http://schemas.microsoft.com/office/drawing/2014/main" id="{884BD2C4-C79C-45CB-B870-671A6792D7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992" y="1504781"/>
            <a:ext cx="817555" cy="168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5DEAAB9A-3828-4E9D-BD92-7E80C0D4C02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178" y="1512042"/>
            <a:ext cx="774621" cy="175975"/>
          </a:xfrm>
          <a:prstGeom prst="rect">
            <a:avLst/>
          </a:prstGeom>
        </p:spPr>
      </p:pic>
      <p:pic>
        <p:nvPicPr>
          <p:cNvPr id="6" name="Picture 2" descr="http://www.ifc.org/wps/wcm/connect/94f74b00485fafdd8c828f1323cfdc17/logo_ifc.png?MOD=AJPERES&amp;CACHEID=94f74b00485fafdd8c828f1323cfdc17">
            <a:extLst>
              <a:ext uri="{FF2B5EF4-FFF2-40B4-BE49-F238E27FC236}">
                <a16:creationId xmlns:a16="http://schemas.microsoft.com/office/drawing/2014/main" id="{D0A12E1C-FD6C-4E02-ABF1-068CF0E41D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918" y="2439743"/>
            <a:ext cx="1360098" cy="244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2" descr="http://1m1nttzpbhl3wbhhgahbu4ix.wpengine.netdna-cdn.com/wp-content/uploads/2015/05/CAF-Logo-Color-Vertical-ingl%C3%A9s-1_11-300x178.png">
            <a:extLst>
              <a:ext uri="{FF2B5EF4-FFF2-40B4-BE49-F238E27FC236}">
                <a16:creationId xmlns:a16="http://schemas.microsoft.com/office/drawing/2014/main" id="{999D140C-871A-47A1-9AD5-EF0318CE61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5197" y="2467182"/>
            <a:ext cx="426301" cy="25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5956356A-8B2E-4046-BB51-2422665F0400}"/>
              </a:ext>
            </a:extLst>
          </p:cNvPr>
          <p:cNvSpPr txBox="1"/>
          <p:nvPr/>
        </p:nvSpPr>
        <p:spPr>
          <a:xfrm>
            <a:off x="107504" y="1104614"/>
            <a:ext cx="839858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t-BR" sz="1300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Principais </a:t>
            </a:r>
            <a:r>
              <a:rPr lang="pt-BR" sz="13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Financiadores</a:t>
            </a:r>
            <a:r>
              <a:rPr lang="pt-BR" sz="1300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 de Saneamento no Brasil</a:t>
            </a:r>
          </a:p>
        </p:txBody>
      </p:sp>
      <p:cxnSp>
        <p:nvCxnSpPr>
          <p:cNvPr id="10" name="Conector reto 9">
            <a:extLst>
              <a:ext uri="{FF2B5EF4-FFF2-40B4-BE49-F238E27FC236}">
                <a16:creationId xmlns:a16="http://schemas.microsoft.com/office/drawing/2014/main" id="{E29B3AAD-1EBF-4F74-9EF7-CF7448B6DF0D}"/>
              </a:ext>
            </a:extLst>
          </p:cNvPr>
          <p:cNvCxnSpPr>
            <a:cxnSpLocks/>
          </p:cNvCxnSpPr>
          <p:nvPr/>
        </p:nvCxnSpPr>
        <p:spPr>
          <a:xfrm>
            <a:off x="178917" y="1397002"/>
            <a:ext cx="8327171" cy="0"/>
          </a:xfrm>
          <a:prstGeom prst="line">
            <a:avLst/>
          </a:prstGeom>
          <a:ln w="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3C0A6702-AE2D-4378-A0D8-8E15A8F668B9}"/>
              </a:ext>
            </a:extLst>
          </p:cNvPr>
          <p:cNvSpPr txBox="1"/>
          <p:nvPr/>
        </p:nvSpPr>
        <p:spPr>
          <a:xfrm>
            <a:off x="107504" y="1923678"/>
            <a:ext cx="839858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t-BR" sz="13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Instituições Multilaterais mais atuantes no Brasil</a:t>
            </a:r>
          </a:p>
        </p:txBody>
      </p:sp>
      <p:pic>
        <p:nvPicPr>
          <p:cNvPr id="13" name="Picture 4" descr="Resultado de imagem para iic bid">
            <a:extLst>
              <a:ext uri="{FF2B5EF4-FFF2-40B4-BE49-F238E27FC236}">
                <a16:creationId xmlns:a16="http://schemas.microsoft.com/office/drawing/2014/main" id="{07AC047F-F98B-4E63-A836-B0DBD3E6BC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2415230"/>
            <a:ext cx="547935" cy="29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B31254EA-0E64-4BDD-9A91-457C17549BF0}"/>
              </a:ext>
            </a:extLst>
          </p:cNvPr>
          <p:cNvSpPr txBox="1"/>
          <p:nvPr/>
        </p:nvSpPr>
        <p:spPr>
          <a:xfrm>
            <a:off x="107504" y="2859782"/>
            <a:ext cx="839858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t-BR" sz="1300" dirty="0">
                <a:latin typeface="Myriad Pro"/>
              </a:rPr>
              <a:t>Fundos Constitucionais</a:t>
            </a:r>
          </a:p>
        </p:txBody>
      </p:sp>
      <p:pic>
        <p:nvPicPr>
          <p:cNvPr id="16" name="Picture 2" descr="Resultado de imagem para BASA">
            <a:extLst>
              <a:ext uri="{FF2B5EF4-FFF2-40B4-BE49-F238E27FC236}">
                <a16:creationId xmlns:a16="http://schemas.microsoft.com/office/drawing/2014/main" id="{00F07AB0-EDE2-4808-B12D-799D2B1E57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2449" y="3292102"/>
            <a:ext cx="504642" cy="256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Resultado de imagem para banco do brasil logo">
            <a:extLst>
              <a:ext uri="{FF2B5EF4-FFF2-40B4-BE49-F238E27FC236}">
                <a16:creationId xmlns:a16="http://schemas.microsoft.com/office/drawing/2014/main" id="{E8D2FAB3-AE34-4124-9DD9-C38C3470B4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5630" y="3328915"/>
            <a:ext cx="588214" cy="172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Resultado de imagem para bnb logo">
            <a:extLst>
              <a:ext uri="{FF2B5EF4-FFF2-40B4-BE49-F238E27FC236}">
                <a16:creationId xmlns:a16="http://schemas.microsoft.com/office/drawing/2014/main" id="{9F883340-DC37-4BE3-9B8F-C4275818BA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397" y="3147814"/>
            <a:ext cx="586389" cy="586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7A9E2172-4D2F-4D3C-A4DD-E958C3EDAD23}"/>
              </a:ext>
            </a:extLst>
          </p:cNvPr>
          <p:cNvSpPr/>
          <p:nvPr/>
        </p:nvSpPr>
        <p:spPr>
          <a:xfrm>
            <a:off x="224597" y="3702474"/>
            <a:ext cx="580471" cy="214704"/>
          </a:xfrm>
          <a:prstGeom prst="rect">
            <a:avLst/>
          </a:prstGeom>
          <a:solidFill>
            <a:srgbClr val="C00000"/>
          </a:solidFill>
        </p:spPr>
        <p:txBody>
          <a:bodyPr wrap="none">
            <a:noAutofit/>
          </a:bodyPr>
          <a:lstStyle/>
          <a:p>
            <a:pPr algn="ctr">
              <a:defRPr/>
            </a:pPr>
            <a:r>
              <a:rPr lang="pt-BR" sz="1000" b="1" dirty="0">
                <a:solidFill>
                  <a:schemeClr val="bg1"/>
                </a:solidFill>
                <a:latin typeface="Myriad Pro"/>
              </a:rPr>
              <a:t>FNE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F65D0CCB-25E8-4FD5-8E41-F0FC62E4164E}"/>
              </a:ext>
            </a:extLst>
          </p:cNvPr>
          <p:cNvSpPr txBox="1"/>
          <p:nvPr/>
        </p:nvSpPr>
        <p:spPr>
          <a:xfrm>
            <a:off x="107504" y="4011910"/>
            <a:ext cx="839858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pt-BR" sz="1300" dirty="0">
                <a:latin typeface="Myriad Pro"/>
              </a:rPr>
              <a:t>Mercado de Capitais</a:t>
            </a:r>
          </a:p>
        </p:txBody>
      </p:sp>
      <p:pic>
        <p:nvPicPr>
          <p:cNvPr id="22" name="Picture 8" descr="Resultado de imagem para ministério das cidades logo">
            <a:extLst>
              <a:ext uri="{FF2B5EF4-FFF2-40B4-BE49-F238E27FC236}">
                <a16:creationId xmlns:a16="http://schemas.microsoft.com/office/drawing/2014/main" id="{833B7DE2-4695-4BA6-8E23-7D41F15C9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389" y="4464714"/>
            <a:ext cx="699791" cy="279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tângulo 22">
            <a:extLst>
              <a:ext uri="{FF2B5EF4-FFF2-40B4-BE49-F238E27FC236}">
                <a16:creationId xmlns:a16="http://schemas.microsoft.com/office/drawing/2014/main" id="{09343CB3-9E9B-427E-8D11-B02D0D407B14}"/>
              </a:ext>
            </a:extLst>
          </p:cNvPr>
          <p:cNvSpPr/>
          <p:nvPr/>
        </p:nvSpPr>
        <p:spPr>
          <a:xfrm>
            <a:off x="967193" y="3707158"/>
            <a:ext cx="580471" cy="232744"/>
          </a:xfrm>
          <a:prstGeom prst="rect">
            <a:avLst/>
          </a:prstGeom>
          <a:solidFill>
            <a:srgbClr val="00B050"/>
          </a:solidFill>
        </p:spPr>
        <p:txBody>
          <a:bodyPr wrap="none">
            <a:noAutofit/>
          </a:bodyPr>
          <a:lstStyle/>
          <a:p>
            <a:pPr algn="ctr">
              <a:defRPr/>
            </a:pPr>
            <a:r>
              <a:rPr lang="pt-BR" sz="1000" b="1" dirty="0">
                <a:solidFill>
                  <a:schemeClr val="bg1"/>
                </a:solidFill>
                <a:latin typeface="Myriad Pro"/>
              </a:rPr>
              <a:t>FNO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B1382ABA-A170-4721-A88B-A1BAFA3B7FF7}"/>
              </a:ext>
            </a:extLst>
          </p:cNvPr>
          <p:cNvSpPr/>
          <p:nvPr/>
        </p:nvSpPr>
        <p:spPr>
          <a:xfrm>
            <a:off x="1686184" y="3702292"/>
            <a:ext cx="580471" cy="232744"/>
          </a:xfrm>
          <a:prstGeom prst="rect">
            <a:avLst/>
          </a:prstGeom>
          <a:solidFill>
            <a:srgbClr val="FFFF00"/>
          </a:solidFill>
        </p:spPr>
        <p:txBody>
          <a:bodyPr wrap="none">
            <a:noAutofit/>
          </a:bodyPr>
          <a:lstStyle/>
          <a:p>
            <a:pPr algn="ctr">
              <a:defRPr/>
            </a:pPr>
            <a:r>
              <a:rPr lang="pt-BR" sz="1000" b="1" dirty="0">
                <a:latin typeface="Myriad Pro"/>
              </a:rPr>
              <a:t>FCO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C9D03140-C5E5-4E91-B852-1615DC863580}"/>
              </a:ext>
            </a:extLst>
          </p:cNvPr>
          <p:cNvSpPr/>
          <p:nvPr/>
        </p:nvSpPr>
        <p:spPr>
          <a:xfrm>
            <a:off x="107504" y="4776917"/>
            <a:ext cx="2159151" cy="250597"/>
          </a:xfrm>
          <a:prstGeom prst="rect">
            <a:avLst/>
          </a:prstGeom>
          <a:solidFill>
            <a:schemeClr val="bg1"/>
          </a:solidFill>
          <a:ln>
            <a:solidFill>
              <a:srgbClr val="009999"/>
            </a:solidFill>
          </a:ln>
        </p:spPr>
        <p:txBody>
          <a:bodyPr wrap="none">
            <a:noAutofit/>
          </a:bodyPr>
          <a:lstStyle/>
          <a:p>
            <a:pPr algn="ctr">
              <a:defRPr/>
            </a:pPr>
            <a:r>
              <a:rPr lang="pt-BR" sz="1100" b="1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Debênture de Infraestrutura</a:t>
            </a:r>
          </a:p>
        </p:txBody>
      </p:sp>
      <p:sp>
        <p:nvSpPr>
          <p:cNvPr id="26" name="Mais 5">
            <a:extLst>
              <a:ext uri="{FF2B5EF4-FFF2-40B4-BE49-F238E27FC236}">
                <a16:creationId xmlns:a16="http://schemas.microsoft.com/office/drawing/2014/main" id="{6F5F2470-E321-4FAE-85DD-F033B5B3B916}"/>
              </a:ext>
            </a:extLst>
          </p:cNvPr>
          <p:cNvSpPr/>
          <p:nvPr/>
        </p:nvSpPr>
        <p:spPr>
          <a:xfrm>
            <a:off x="999218" y="4450353"/>
            <a:ext cx="227024" cy="247607"/>
          </a:xfrm>
          <a:prstGeom prst="mathPlus">
            <a:avLst/>
          </a:prstGeom>
          <a:solidFill>
            <a:srgbClr val="A0F2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0">
              <a:latin typeface="Trebuchet MS" panose="020B0603020202020204" pitchFamily="34" charset="0"/>
            </a:endParaRP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id="{1B3AE389-CC0C-48E6-B92C-4221CBCAB5B7}"/>
              </a:ext>
            </a:extLst>
          </p:cNvPr>
          <p:cNvSpPr/>
          <p:nvPr/>
        </p:nvSpPr>
        <p:spPr>
          <a:xfrm>
            <a:off x="1236091" y="4430652"/>
            <a:ext cx="651202" cy="222159"/>
          </a:xfrm>
          <a:prstGeom prst="rect">
            <a:avLst/>
          </a:prstGeom>
          <a:noFill/>
          <a:ln>
            <a:noFill/>
          </a:ln>
        </p:spPr>
        <p:txBody>
          <a:bodyPr wrap="none">
            <a:noAutofit/>
          </a:bodyPr>
          <a:lstStyle/>
          <a:p>
            <a:pPr algn="ctr">
              <a:defRPr/>
            </a:pPr>
            <a:r>
              <a:rPr lang="pt-BR" sz="1200" b="1" dirty="0">
                <a:latin typeface="Myriad Pro"/>
              </a:rPr>
              <a:t>DTVM</a:t>
            </a:r>
          </a:p>
        </p:txBody>
      </p:sp>
      <p:pic>
        <p:nvPicPr>
          <p:cNvPr id="28" name="Picture 4" descr="Resultado de imagem para proparco">
            <a:extLst>
              <a:ext uri="{FF2B5EF4-FFF2-40B4-BE49-F238E27FC236}">
                <a16:creationId xmlns:a16="http://schemas.microsoft.com/office/drawing/2014/main" id="{284801D4-2014-4021-93FA-6AE039401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8292" y="2433820"/>
            <a:ext cx="842582" cy="272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id="{DFC7FD58-9B6C-4109-9098-39C4C9933F52}"/>
              </a:ext>
            </a:extLst>
          </p:cNvPr>
          <p:cNvCxnSpPr>
            <a:cxnSpLocks/>
          </p:cNvCxnSpPr>
          <p:nvPr/>
        </p:nvCxnSpPr>
        <p:spPr>
          <a:xfrm>
            <a:off x="224597" y="2216066"/>
            <a:ext cx="8327171" cy="0"/>
          </a:xfrm>
          <a:prstGeom prst="line">
            <a:avLst/>
          </a:prstGeom>
          <a:ln w="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>
            <a:extLst>
              <a:ext uri="{FF2B5EF4-FFF2-40B4-BE49-F238E27FC236}">
                <a16:creationId xmlns:a16="http://schemas.microsoft.com/office/drawing/2014/main" id="{0A378273-FFCB-4A81-B0AE-168455DCFD91}"/>
              </a:ext>
            </a:extLst>
          </p:cNvPr>
          <p:cNvCxnSpPr>
            <a:cxnSpLocks/>
          </p:cNvCxnSpPr>
          <p:nvPr/>
        </p:nvCxnSpPr>
        <p:spPr>
          <a:xfrm>
            <a:off x="178917" y="3152170"/>
            <a:ext cx="8327171" cy="0"/>
          </a:xfrm>
          <a:prstGeom prst="line">
            <a:avLst/>
          </a:prstGeom>
          <a:ln w="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id="{C10651FE-EB4F-4140-9537-CFC574FAEBB6}"/>
              </a:ext>
            </a:extLst>
          </p:cNvPr>
          <p:cNvCxnSpPr>
            <a:cxnSpLocks/>
          </p:cNvCxnSpPr>
          <p:nvPr/>
        </p:nvCxnSpPr>
        <p:spPr>
          <a:xfrm>
            <a:off x="178917" y="4304298"/>
            <a:ext cx="8327171" cy="0"/>
          </a:xfrm>
          <a:prstGeom prst="line">
            <a:avLst/>
          </a:prstGeom>
          <a:ln w="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0918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1">
            <a:extLst>
              <a:ext uri="{FF2B5EF4-FFF2-40B4-BE49-F238E27FC236}">
                <a16:creationId xmlns:a16="http://schemas.microsoft.com/office/drawing/2014/main" id="{53B2838D-5167-4143-87D4-24136E3AD5B2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algn="ctr" defTabSz="914400">
              <a:spcBef>
                <a:spcPct val="0"/>
              </a:spcBef>
              <a:buNone/>
              <a:defRPr sz="1600" b="1">
                <a:solidFill>
                  <a:srgbClr val="253F93"/>
                </a:solidFill>
                <a:latin typeface="Myriad Pro"/>
                <a:ea typeface="+mj-ea"/>
                <a:cs typeface="+mj-cs"/>
              </a:defRPr>
            </a:lvl1pPr>
          </a:lstStyle>
          <a:p>
            <a:r>
              <a:rPr lang="pt-BR" dirty="0"/>
              <a:t>Principais Pontos Medida Provisória 844</a:t>
            </a:r>
          </a:p>
        </p:txBody>
      </p:sp>
      <p:sp>
        <p:nvSpPr>
          <p:cNvPr id="13" name="Retângulo: Cantos Arredondados 12">
            <a:extLst>
              <a:ext uri="{FF2B5EF4-FFF2-40B4-BE49-F238E27FC236}">
                <a16:creationId xmlns:a16="http://schemas.microsoft.com/office/drawing/2014/main" id="{F4D2FCE5-3FCD-4A0A-8127-FD6C5CDC2B22}"/>
              </a:ext>
            </a:extLst>
          </p:cNvPr>
          <p:cNvSpPr/>
          <p:nvPr/>
        </p:nvSpPr>
        <p:spPr>
          <a:xfrm>
            <a:off x="0" y="1200477"/>
            <a:ext cx="9144000" cy="45896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Myriad Pro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F0CF7741-52CB-40E5-9591-BF64E4DAD828}"/>
              </a:ext>
            </a:extLst>
          </p:cNvPr>
          <p:cNvSpPr txBox="1"/>
          <p:nvPr/>
        </p:nvSpPr>
        <p:spPr>
          <a:xfrm>
            <a:off x="347881" y="1319172"/>
            <a:ext cx="86409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A </a:t>
            </a:r>
            <a:r>
              <a:rPr lang="pt-BR" sz="1200" b="1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MP 844 </a:t>
            </a:r>
            <a:r>
              <a:rPr lang="pt-BR" sz="1200" dirty="0">
                <a:solidFill>
                  <a:schemeClr val="accent1">
                    <a:lumMod val="75000"/>
                  </a:schemeClr>
                </a:solidFill>
                <a:latin typeface="Myriad Pro"/>
              </a:rPr>
              <a:t>vem com o objetivo de estimular a concorrência e melhorar a eficiência e investimentos no setor </a:t>
            </a:r>
          </a:p>
          <a:p>
            <a:endParaRPr lang="pt-BR" sz="1200" spc="5" dirty="0">
              <a:solidFill>
                <a:srgbClr val="253F93"/>
              </a:solidFill>
              <a:latin typeface="Myriad Pro"/>
              <a:ea typeface="+mj-ea"/>
              <a:cs typeface="+mj-cs"/>
            </a:endParaRPr>
          </a:p>
          <a:p>
            <a:pPr lvl="1"/>
            <a:endParaRPr lang="pt-BR" sz="1200" b="1" spc="5" dirty="0">
              <a:solidFill>
                <a:srgbClr val="00A8AB"/>
              </a:solidFill>
              <a:latin typeface="Myriad Pro"/>
            </a:endParaRPr>
          </a:p>
        </p:txBody>
      </p:sp>
      <p:sp>
        <p:nvSpPr>
          <p:cNvPr id="2" name="Elipse 1">
            <a:extLst>
              <a:ext uri="{FF2B5EF4-FFF2-40B4-BE49-F238E27FC236}">
                <a16:creationId xmlns:a16="http://schemas.microsoft.com/office/drawing/2014/main" id="{28CA338B-802B-473A-A216-4BFC3FF7EA4F}"/>
              </a:ext>
            </a:extLst>
          </p:cNvPr>
          <p:cNvSpPr/>
          <p:nvPr/>
        </p:nvSpPr>
        <p:spPr>
          <a:xfrm>
            <a:off x="4139952" y="2385543"/>
            <a:ext cx="1872208" cy="788827"/>
          </a:xfrm>
          <a:prstGeom prst="ellipse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Estabilidade Regulatória para o setor</a:t>
            </a:r>
          </a:p>
        </p:txBody>
      </p:sp>
      <p:sp>
        <p:nvSpPr>
          <p:cNvPr id="5" name="Seta: para a Direita 4">
            <a:extLst>
              <a:ext uri="{FF2B5EF4-FFF2-40B4-BE49-F238E27FC236}">
                <a16:creationId xmlns:a16="http://schemas.microsoft.com/office/drawing/2014/main" id="{55D38D73-4765-406F-8E26-6C8856857C50}"/>
              </a:ext>
            </a:extLst>
          </p:cNvPr>
          <p:cNvSpPr/>
          <p:nvPr/>
        </p:nvSpPr>
        <p:spPr>
          <a:xfrm>
            <a:off x="3665713" y="2489695"/>
            <a:ext cx="288032" cy="730127"/>
          </a:xfrm>
          <a:prstGeom prst="rightArrow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050" b="1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413FFC2A-09FE-40B4-B902-B9D76936876A}"/>
              </a:ext>
            </a:extLst>
          </p:cNvPr>
          <p:cNvSpPr txBox="1"/>
          <p:nvPr/>
        </p:nvSpPr>
        <p:spPr>
          <a:xfrm>
            <a:off x="338558" y="1965503"/>
            <a:ext cx="8457561" cy="25160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Assinada no último dia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06 de julho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, a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Medida Provisória 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(MP)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844/18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 propõe um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Novo Marco Regulatório do Saneamento Básico 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brasileiro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Supervisão da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regulação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 em âmbito federal</a:t>
            </a:r>
          </a:p>
          <a:p>
            <a:pPr marL="710246" lvl="1" indent="-285750" algn="just"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Padrões de qualidade</a:t>
            </a:r>
          </a:p>
          <a:p>
            <a:pPr marL="710246" lvl="1" indent="-285750" algn="just"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Mediadora de conflitos</a:t>
            </a:r>
          </a:p>
          <a:p>
            <a:pPr marL="710246" lvl="1" indent="-285750" algn="just"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Manutenção do nível de serviço desejado</a:t>
            </a:r>
          </a:p>
          <a:p>
            <a:pPr algn="just"/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§"/>
            </a:pP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Menor exigência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  <a:sym typeface="Wingdings" panose="05000000000000000000" pitchFamily="2" charset="2"/>
              </a:rPr>
              <a:t>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Plano Municipal de Saneamento Básico 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poderá ser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substituído por um estudo de viabilidade técnica;</a:t>
            </a:r>
          </a:p>
          <a:p>
            <a:pPr algn="just"/>
            <a:endParaRPr lang="pt-BR" sz="1050" b="1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Criação do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Comitê Interministerial de Saneamento Básico (CISB) 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que terá a função de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coordenar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 as ações de órgãos federais na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alocação dos recursos destinados ao serviço e na implementação da política federal do setor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sz="1050" b="1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algn="just"/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7D71123F-4915-490C-A302-2D112B6C8081}"/>
              </a:ext>
            </a:extLst>
          </p:cNvPr>
          <p:cNvSpPr/>
          <p:nvPr/>
        </p:nvSpPr>
        <p:spPr>
          <a:xfrm>
            <a:off x="2912182" y="4386227"/>
            <a:ext cx="2477144" cy="646332"/>
          </a:xfrm>
          <a:prstGeom prst="ellipse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Integração das Políticas de Saneamento pelos Ministérios</a:t>
            </a:r>
          </a:p>
        </p:txBody>
      </p:sp>
      <p:sp>
        <p:nvSpPr>
          <p:cNvPr id="11" name="Seta: para a Direita 10">
            <a:extLst>
              <a:ext uri="{FF2B5EF4-FFF2-40B4-BE49-F238E27FC236}">
                <a16:creationId xmlns:a16="http://schemas.microsoft.com/office/drawing/2014/main" id="{51C4949A-673A-4829-B1C1-4FAA207ED21E}"/>
              </a:ext>
            </a:extLst>
          </p:cNvPr>
          <p:cNvSpPr/>
          <p:nvPr/>
        </p:nvSpPr>
        <p:spPr>
          <a:xfrm rot="5400000">
            <a:off x="4006738" y="3790862"/>
            <a:ext cx="288032" cy="730127"/>
          </a:xfrm>
          <a:prstGeom prst="rightArrow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050" b="1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79948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51A46535-06A3-476F-8424-878336012442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algn="ctr" defTabSz="914400">
              <a:spcBef>
                <a:spcPct val="0"/>
              </a:spcBef>
              <a:buNone/>
              <a:defRPr sz="1600" b="1">
                <a:solidFill>
                  <a:srgbClr val="253F93"/>
                </a:solidFill>
                <a:latin typeface="Myriad Pro"/>
                <a:ea typeface="+mj-ea"/>
                <a:cs typeface="+mj-cs"/>
              </a:defRPr>
            </a:lvl1pPr>
          </a:lstStyle>
          <a:p>
            <a:r>
              <a:rPr lang="pt-BR" dirty="0"/>
              <a:t>Principais Pontos Medida Provisória 844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9069177A-4269-4CAB-9B3B-5D2605C90DAF}"/>
              </a:ext>
            </a:extLst>
          </p:cNvPr>
          <p:cNvSpPr txBox="1"/>
          <p:nvPr/>
        </p:nvSpPr>
        <p:spPr>
          <a:xfrm>
            <a:off x="323528" y="1491630"/>
            <a:ext cx="8457561" cy="2596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Tarifa de Disponibilidade – incentivar a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ligação das residências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 às redes de esgoto;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Enfrentamento das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perdas de água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pt-BR" sz="105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Serviços 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de saneamento básico em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assentamentos urbanos consolidados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 e </a:t>
            </a: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irregulares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 para população de baixa renda;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Incentivo à capacitação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 dos profissionais do setor;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Metas , prazos de atendimento e penalidades por descumprimento nos Contratos de Programa;</a:t>
            </a:r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marL="595946" lvl="1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Racionalização dos contratos de programa: </a:t>
            </a: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conterão cláusulas essenciais dos contratos de concessão;</a:t>
            </a:r>
          </a:p>
          <a:p>
            <a:pPr marL="595946" lvl="1" indent="-1714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pt-BR" sz="1050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Chamamento público ao final dos Contratos de Programa existentes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  <a:p>
            <a:pPr algn="just"/>
            <a:endParaRPr lang="pt-BR" sz="1050" dirty="0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6CB09F08-AA88-4E41-A09E-88BF9F131912}"/>
              </a:ext>
            </a:extLst>
          </p:cNvPr>
          <p:cNvSpPr/>
          <p:nvPr/>
        </p:nvSpPr>
        <p:spPr>
          <a:xfrm>
            <a:off x="2920839" y="4261599"/>
            <a:ext cx="1872208" cy="788827"/>
          </a:xfrm>
          <a:prstGeom prst="ellipse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050" b="1" dirty="0">
                <a:solidFill>
                  <a:schemeClr val="accent1">
                    <a:lumMod val="75000"/>
                  </a:schemeClr>
                </a:solidFill>
                <a:latin typeface="Myriad Pro" pitchFamily="34" charset="0"/>
              </a:rPr>
              <a:t>Contratos de programa com metas mais claras </a:t>
            </a:r>
          </a:p>
        </p:txBody>
      </p:sp>
      <p:sp>
        <p:nvSpPr>
          <p:cNvPr id="10" name="Seta: para a Direita 9">
            <a:extLst>
              <a:ext uri="{FF2B5EF4-FFF2-40B4-BE49-F238E27FC236}">
                <a16:creationId xmlns:a16="http://schemas.microsoft.com/office/drawing/2014/main" id="{1B885FB6-DADD-43D3-9AE0-A230326FD5A6}"/>
              </a:ext>
            </a:extLst>
          </p:cNvPr>
          <p:cNvSpPr/>
          <p:nvPr/>
        </p:nvSpPr>
        <p:spPr>
          <a:xfrm rot="5400000">
            <a:off x="3712927" y="3724726"/>
            <a:ext cx="288032" cy="730127"/>
          </a:xfrm>
          <a:prstGeom prst="rightArrow">
            <a:avLst/>
          </a:prstGeom>
          <a:noFill/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BR" sz="1050" b="1">
              <a:solidFill>
                <a:schemeClr val="accent1">
                  <a:lumMod val="75000"/>
                </a:schemeClr>
              </a:solidFill>
              <a:latin typeface="Myriad Pro" pitchFamily="34" charset="0"/>
            </a:endParaRP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B081FED5-E966-4756-894D-599BCD443195}"/>
              </a:ext>
            </a:extLst>
          </p:cNvPr>
          <p:cNvGrpSpPr/>
          <p:nvPr/>
        </p:nvGrpSpPr>
        <p:grpSpPr>
          <a:xfrm>
            <a:off x="683568" y="3556597"/>
            <a:ext cx="6552728" cy="328318"/>
            <a:chOff x="683568" y="3708776"/>
            <a:chExt cx="6552728" cy="328318"/>
          </a:xfrm>
        </p:grpSpPr>
        <p:cxnSp>
          <p:nvCxnSpPr>
            <p:cNvPr id="13" name="Conector reto 12">
              <a:extLst>
                <a:ext uri="{FF2B5EF4-FFF2-40B4-BE49-F238E27FC236}">
                  <a16:creationId xmlns:a16="http://schemas.microsoft.com/office/drawing/2014/main" id="{961C0947-20F8-478A-BE2C-FE61834A9E72}"/>
                </a:ext>
              </a:extLst>
            </p:cNvPr>
            <p:cNvCxnSpPr/>
            <p:nvPr/>
          </p:nvCxnSpPr>
          <p:spPr>
            <a:xfrm>
              <a:off x="683568" y="3708777"/>
              <a:ext cx="0" cy="32831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ector reto 13">
              <a:extLst>
                <a:ext uri="{FF2B5EF4-FFF2-40B4-BE49-F238E27FC236}">
                  <a16:creationId xmlns:a16="http://schemas.microsoft.com/office/drawing/2014/main" id="{7310D732-3B00-49DD-A1CF-8F51429F7D7A}"/>
                </a:ext>
              </a:extLst>
            </p:cNvPr>
            <p:cNvCxnSpPr/>
            <p:nvPr/>
          </p:nvCxnSpPr>
          <p:spPr>
            <a:xfrm>
              <a:off x="7236296" y="3708776"/>
              <a:ext cx="0" cy="32831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ector reto 15">
              <a:extLst>
                <a:ext uri="{FF2B5EF4-FFF2-40B4-BE49-F238E27FC236}">
                  <a16:creationId xmlns:a16="http://schemas.microsoft.com/office/drawing/2014/main" id="{C56B32CB-1E82-4E0E-9626-13A245B28FF8}"/>
                </a:ext>
              </a:extLst>
            </p:cNvPr>
            <p:cNvCxnSpPr/>
            <p:nvPr/>
          </p:nvCxnSpPr>
          <p:spPr>
            <a:xfrm>
              <a:off x="683568" y="4037093"/>
              <a:ext cx="6552728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659168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4">
            <a:extLst>
              <a:ext uri="{FF2B5EF4-FFF2-40B4-BE49-F238E27FC236}">
                <a16:creationId xmlns:a16="http://schemas.microsoft.com/office/drawing/2014/main" id="{38B1E029-8CC0-4B31-BA69-55BCE10B1670}"/>
              </a:ext>
            </a:extLst>
          </p:cNvPr>
          <p:cNvSpPr txBox="1"/>
          <p:nvPr/>
        </p:nvSpPr>
        <p:spPr>
          <a:xfrm>
            <a:off x="3491880" y="1036803"/>
            <a:ext cx="2018030" cy="323165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0" lvl="0" indent="0" algn="l" defTabSz="848990" rtl="0" eaLnBrk="1" fontAlgn="auto" latinLnBrk="0" hangingPunct="1">
              <a:lnSpc>
                <a:spcPct val="10000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4</a:t>
            </a:r>
            <a:r>
              <a:rPr kumimoji="0" lang="pt-BR" sz="2000" b="1" i="0" u="none" strike="noStrike" kern="1200" cap="none" spc="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9</a:t>
            </a:r>
            <a:r>
              <a:rPr kumimoji="0" sz="2000" b="1" i="0" u="none" strike="noStrike" kern="1200" cap="none" spc="-5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2000" b="1" i="0" u="none" strike="noStrike" kern="1200" cap="none" spc="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UNICÍPIOS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14" name="object 5">
            <a:extLst>
              <a:ext uri="{FF2B5EF4-FFF2-40B4-BE49-F238E27FC236}">
                <a16:creationId xmlns:a16="http://schemas.microsoft.com/office/drawing/2014/main" id="{F42C7065-8E5A-48E3-BA63-E20109ED00EA}"/>
              </a:ext>
            </a:extLst>
          </p:cNvPr>
          <p:cNvSpPr txBox="1"/>
          <p:nvPr/>
        </p:nvSpPr>
        <p:spPr>
          <a:xfrm>
            <a:off x="3491880" y="1312476"/>
            <a:ext cx="1934845" cy="18915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84899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50" b="1" i="0" u="none" strike="noStrike" kern="1200" cap="none" spc="-5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EM 1</a:t>
            </a:r>
            <a:r>
              <a:rPr kumimoji="0" lang="pt-BR" sz="1150" b="1" i="0" u="none" strike="noStrike" kern="1200" cap="none" spc="-5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1</a:t>
            </a:r>
            <a:r>
              <a:rPr kumimoji="0" sz="1150" b="1" i="0" u="none" strike="noStrike" kern="1200" cap="none" spc="-40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150" b="1" i="0" u="none" strike="noStrike" kern="1200" cap="none" spc="-10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ESTADOS</a:t>
            </a:r>
            <a:endParaRPr kumimoji="0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15" name="object 6">
            <a:extLst>
              <a:ext uri="{FF2B5EF4-FFF2-40B4-BE49-F238E27FC236}">
                <a16:creationId xmlns:a16="http://schemas.microsoft.com/office/drawing/2014/main" id="{E73CF68C-CB62-44AF-A953-2C1991C26B2C}"/>
              </a:ext>
            </a:extLst>
          </p:cNvPr>
          <p:cNvSpPr txBox="1"/>
          <p:nvPr/>
        </p:nvSpPr>
        <p:spPr>
          <a:xfrm>
            <a:off x="3491880" y="1774152"/>
            <a:ext cx="2647760" cy="566822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3970" marR="0" lvl="0" indent="0" algn="l" defTabSz="848990" rtl="0" eaLnBrk="1" fontAlgn="auto" latinLnBrk="0" hangingPunct="1">
              <a:lnSpc>
                <a:spcPts val="2890"/>
              </a:lnSpc>
              <a:spcBef>
                <a:spcPts val="1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AIS DE 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7</a:t>
            </a:r>
            <a:r>
              <a:rPr kumimoji="0" lang="pt-BR" sz="2000" b="1" i="0" u="none" strike="noStrike" kern="1200" cap="none" spc="-5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2000" b="1" i="0" u="none" strike="noStrike" kern="1200" cap="none" spc="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ILHÕES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12700" marR="0" lvl="0" indent="0" algn="l" defTabSz="848990" rtl="0" eaLnBrk="1" fontAlgn="auto" latinLnBrk="0" hangingPunct="1">
              <a:lnSpc>
                <a:spcPts val="13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1" i="0" u="none" strike="noStrike" kern="1200" cap="none" spc="0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DE </a:t>
            </a:r>
            <a:r>
              <a:rPr kumimoji="0" sz="1300" b="1" i="0" u="none" strike="noStrike" kern="1200" cap="none" spc="-5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PESSOAS</a:t>
            </a:r>
            <a:r>
              <a:rPr kumimoji="0" sz="1300" b="1" i="0" u="none" strike="noStrike" kern="1200" cap="none" spc="-30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300" b="1" i="0" u="none" strike="noStrike" kern="1200" cap="none" spc="0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ATENDIDA</a:t>
            </a:r>
            <a:r>
              <a:rPr kumimoji="0" lang="pt-BR" sz="1300" b="1" i="0" u="none" strike="noStrike" kern="1200" cap="none" spc="0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S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16" name="object 7">
            <a:extLst>
              <a:ext uri="{FF2B5EF4-FFF2-40B4-BE49-F238E27FC236}">
                <a16:creationId xmlns:a16="http://schemas.microsoft.com/office/drawing/2014/main" id="{05601253-BA5E-4391-AF16-11309A3A1FA9}"/>
              </a:ext>
            </a:extLst>
          </p:cNvPr>
          <p:cNvSpPr txBox="1"/>
          <p:nvPr/>
        </p:nvSpPr>
        <p:spPr>
          <a:xfrm>
            <a:off x="3520390" y="2557518"/>
            <a:ext cx="2619250" cy="31995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3335" marR="0" lvl="0" indent="0" algn="l" defTabSz="84899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-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3</a:t>
            </a:r>
            <a:r>
              <a:rPr kumimoji="0" sz="2000" b="1" i="0" u="none" strike="noStrike" kern="1200" cap="none" spc="-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3%</a:t>
            </a:r>
            <a:r>
              <a:rPr kumimoji="0" sz="2000" b="1" i="0" u="none" strike="noStrike" kern="1200" cap="none" spc="-340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300" b="1" i="0" u="none" strike="noStrike" kern="1200" cap="none" spc="-10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DO SETOR </a:t>
            </a:r>
            <a:r>
              <a:rPr kumimoji="0" sz="1300" b="1" i="0" u="none" strike="noStrike" kern="1200" cap="none" spc="-15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PRIVADO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8C7979FC-A9D9-4AB5-985E-EB469F677308}"/>
              </a:ext>
            </a:extLst>
          </p:cNvPr>
          <p:cNvSpPr txBox="1"/>
          <p:nvPr/>
        </p:nvSpPr>
        <p:spPr>
          <a:xfrm>
            <a:off x="3520390" y="4021515"/>
            <a:ext cx="2619250" cy="525144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10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DE</a:t>
            </a:r>
            <a:r>
              <a:rPr kumimoji="0" sz="2000" b="1" i="0" u="none" strike="noStrike" kern="1200" cap="none" spc="-8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2000" b="1" i="0" u="none" strike="noStrike" kern="1200" cap="none" spc="1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ECONOMIA</a:t>
            </a:r>
            <a:r>
              <a:rPr kumimoji="0" lang="pt-BR" sz="2000" b="1" i="0" u="none" strike="noStrike" kern="1200" cap="none" spc="1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S</a:t>
            </a:r>
            <a:endParaRPr kumimoji="0" lang="pt-BR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00" b="1" i="0" u="none" strike="noStrike" kern="1200" cap="none" spc="-5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(ÁGUA +</a:t>
            </a:r>
            <a:r>
              <a:rPr kumimoji="0" sz="1300" b="1" i="0" u="none" strike="noStrike" kern="1200" cap="none" spc="-55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1300" b="1" i="0" u="none" strike="noStrike" kern="1200" cap="none" spc="-10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ESGOTO)</a:t>
            </a:r>
            <a:endParaRPr kumimoji="0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18" name="object 9">
            <a:extLst>
              <a:ext uri="{FF2B5EF4-FFF2-40B4-BE49-F238E27FC236}">
                <a16:creationId xmlns:a16="http://schemas.microsoft.com/office/drawing/2014/main" id="{2EA814A6-86B6-470F-8071-9A1ACFC21104}"/>
              </a:ext>
            </a:extLst>
          </p:cNvPr>
          <p:cNvSpPr txBox="1"/>
          <p:nvPr/>
        </p:nvSpPr>
        <p:spPr>
          <a:xfrm>
            <a:off x="3520390" y="3710172"/>
            <a:ext cx="3470036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l" defTabSz="84899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AIS DE 2,6</a:t>
            </a:r>
            <a:r>
              <a:rPr kumimoji="0" sz="2000" b="1" i="0" u="none" strike="noStrike" kern="1200" cap="none" spc="-70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sz="2000" b="1" i="0" u="none" strike="noStrike" kern="1200" cap="none" spc="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ILH</a:t>
            </a:r>
            <a:r>
              <a:rPr kumimoji="0" lang="pt-BR" sz="2000" b="1" i="0" u="none" strike="noStrike" kern="1200" cap="none" spc="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ÕES</a:t>
            </a:r>
            <a:endParaRPr kumimoji="0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19" name="object 12">
            <a:extLst>
              <a:ext uri="{FF2B5EF4-FFF2-40B4-BE49-F238E27FC236}">
                <a16:creationId xmlns:a16="http://schemas.microsoft.com/office/drawing/2014/main" id="{02722247-1A80-43A3-943C-51B254EABDD1}"/>
              </a:ext>
            </a:extLst>
          </p:cNvPr>
          <p:cNvSpPr/>
          <p:nvPr/>
        </p:nvSpPr>
        <p:spPr>
          <a:xfrm>
            <a:off x="3491880" y="1643020"/>
            <a:ext cx="2188210" cy="22860"/>
          </a:xfrm>
          <a:custGeom>
            <a:avLst/>
            <a:gdLst/>
            <a:ahLst/>
            <a:cxnLst/>
            <a:rect l="l" t="t" r="r" b="b"/>
            <a:pathLst>
              <a:path w="2188210" h="22860">
                <a:moveTo>
                  <a:pt x="44640" y="6095"/>
                </a:moveTo>
                <a:lnTo>
                  <a:pt x="24885" y="6095"/>
                </a:lnTo>
                <a:lnTo>
                  <a:pt x="36180" y="7873"/>
                </a:lnTo>
                <a:lnTo>
                  <a:pt x="56808" y="20573"/>
                </a:lnTo>
                <a:lnTo>
                  <a:pt x="70388" y="22859"/>
                </a:lnTo>
                <a:lnTo>
                  <a:pt x="83965" y="20573"/>
                </a:lnTo>
                <a:lnTo>
                  <a:pt x="90134" y="16763"/>
                </a:lnTo>
                <a:lnTo>
                  <a:pt x="70380" y="16763"/>
                </a:lnTo>
                <a:lnTo>
                  <a:pt x="59087" y="14985"/>
                </a:lnTo>
                <a:lnTo>
                  <a:pt x="44640" y="6095"/>
                </a:lnTo>
                <a:close/>
              </a:path>
              <a:path w="2188210" h="22860">
                <a:moveTo>
                  <a:pt x="135626" y="6095"/>
                </a:moveTo>
                <a:lnTo>
                  <a:pt x="115871" y="6095"/>
                </a:lnTo>
                <a:lnTo>
                  <a:pt x="127168" y="7873"/>
                </a:lnTo>
                <a:lnTo>
                  <a:pt x="147796" y="20573"/>
                </a:lnTo>
                <a:lnTo>
                  <a:pt x="161374" y="22859"/>
                </a:lnTo>
                <a:lnTo>
                  <a:pt x="174954" y="20573"/>
                </a:lnTo>
                <a:lnTo>
                  <a:pt x="180921" y="16890"/>
                </a:lnTo>
                <a:lnTo>
                  <a:pt x="161374" y="16890"/>
                </a:lnTo>
                <a:lnTo>
                  <a:pt x="150078" y="14985"/>
                </a:lnTo>
                <a:lnTo>
                  <a:pt x="135626" y="6095"/>
                </a:lnTo>
                <a:close/>
              </a:path>
              <a:path w="2188210" h="22860">
                <a:moveTo>
                  <a:pt x="226618" y="6095"/>
                </a:moveTo>
                <a:lnTo>
                  <a:pt x="206876" y="6095"/>
                </a:lnTo>
                <a:lnTo>
                  <a:pt x="218171" y="7873"/>
                </a:lnTo>
                <a:lnTo>
                  <a:pt x="238793" y="20573"/>
                </a:lnTo>
                <a:lnTo>
                  <a:pt x="252374" y="22859"/>
                </a:lnTo>
                <a:lnTo>
                  <a:pt x="265955" y="20573"/>
                </a:lnTo>
                <a:lnTo>
                  <a:pt x="271919" y="16890"/>
                </a:lnTo>
                <a:lnTo>
                  <a:pt x="252369" y="16890"/>
                </a:lnTo>
                <a:lnTo>
                  <a:pt x="241073" y="14985"/>
                </a:lnTo>
                <a:lnTo>
                  <a:pt x="226618" y="6095"/>
                </a:lnTo>
                <a:close/>
              </a:path>
              <a:path w="2188210" h="22860">
                <a:moveTo>
                  <a:pt x="317616" y="6095"/>
                </a:moveTo>
                <a:lnTo>
                  <a:pt x="297867" y="6095"/>
                </a:lnTo>
                <a:lnTo>
                  <a:pt x="309165" y="7873"/>
                </a:lnTo>
                <a:lnTo>
                  <a:pt x="329789" y="20573"/>
                </a:lnTo>
                <a:lnTo>
                  <a:pt x="343369" y="22859"/>
                </a:lnTo>
                <a:lnTo>
                  <a:pt x="356950" y="20573"/>
                </a:lnTo>
                <a:lnTo>
                  <a:pt x="362914" y="16890"/>
                </a:lnTo>
                <a:lnTo>
                  <a:pt x="343365" y="16890"/>
                </a:lnTo>
                <a:lnTo>
                  <a:pt x="332069" y="14985"/>
                </a:lnTo>
                <a:lnTo>
                  <a:pt x="317616" y="6095"/>
                </a:lnTo>
                <a:close/>
              </a:path>
              <a:path w="2188210" h="22860">
                <a:moveTo>
                  <a:pt x="408612" y="6095"/>
                </a:moveTo>
                <a:lnTo>
                  <a:pt x="388858" y="6095"/>
                </a:lnTo>
                <a:lnTo>
                  <a:pt x="400155" y="7873"/>
                </a:lnTo>
                <a:lnTo>
                  <a:pt x="420784" y="20573"/>
                </a:lnTo>
                <a:lnTo>
                  <a:pt x="434365" y="22859"/>
                </a:lnTo>
                <a:lnTo>
                  <a:pt x="447946" y="20573"/>
                </a:lnTo>
                <a:lnTo>
                  <a:pt x="453910" y="16890"/>
                </a:lnTo>
                <a:lnTo>
                  <a:pt x="434355" y="16890"/>
                </a:lnTo>
                <a:lnTo>
                  <a:pt x="423059" y="14985"/>
                </a:lnTo>
                <a:lnTo>
                  <a:pt x="408612" y="6095"/>
                </a:lnTo>
                <a:close/>
              </a:path>
              <a:path w="2188210" h="22860">
                <a:moveTo>
                  <a:pt x="499608" y="6095"/>
                </a:moveTo>
                <a:lnTo>
                  <a:pt x="479853" y="6095"/>
                </a:lnTo>
                <a:lnTo>
                  <a:pt x="491150" y="7873"/>
                </a:lnTo>
                <a:lnTo>
                  <a:pt x="511780" y="20573"/>
                </a:lnTo>
                <a:lnTo>
                  <a:pt x="525359" y="22859"/>
                </a:lnTo>
                <a:lnTo>
                  <a:pt x="538936" y="20573"/>
                </a:lnTo>
                <a:lnTo>
                  <a:pt x="544896" y="16890"/>
                </a:lnTo>
                <a:lnTo>
                  <a:pt x="525357" y="16890"/>
                </a:lnTo>
                <a:lnTo>
                  <a:pt x="514061" y="14985"/>
                </a:lnTo>
                <a:lnTo>
                  <a:pt x="499608" y="6095"/>
                </a:lnTo>
                <a:close/>
              </a:path>
              <a:path w="2188210" h="22860">
                <a:moveTo>
                  <a:pt x="590602" y="6095"/>
                </a:moveTo>
                <a:lnTo>
                  <a:pt x="570850" y="6095"/>
                </a:lnTo>
                <a:lnTo>
                  <a:pt x="582145" y="7873"/>
                </a:lnTo>
                <a:lnTo>
                  <a:pt x="602763" y="20573"/>
                </a:lnTo>
                <a:lnTo>
                  <a:pt x="616343" y="22859"/>
                </a:lnTo>
                <a:lnTo>
                  <a:pt x="629924" y="20573"/>
                </a:lnTo>
                <a:lnTo>
                  <a:pt x="635888" y="16890"/>
                </a:lnTo>
                <a:lnTo>
                  <a:pt x="616353" y="16890"/>
                </a:lnTo>
                <a:lnTo>
                  <a:pt x="605056" y="14985"/>
                </a:lnTo>
                <a:lnTo>
                  <a:pt x="590602" y="6095"/>
                </a:lnTo>
                <a:close/>
              </a:path>
              <a:path w="2188210" h="22860">
                <a:moveTo>
                  <a:pt x="681595" y="6095"/>
                </a:moveTo>
                <a:lnTo>
                  <a:pt x="661846" y="6095"/>
                </a:lnTo>
                <a:lnTo>
                  <a:pt x="673141" y="7873"/>
                </a:lnTo>
                <a:lnTo>
                  <a:pt x="693758" y="20573"/>
                </a:lnTo>
                <a:lnTo>
                  <a:pt x="707339" y="22859"/>
                </a:lnTo>
                <a:lnTo>
                  <a:pt x="720919" y="20573"/>
                </a:lnTo>
                <a:lnTo>
                  <a:pt x="726884" y="16890"/>
                </a:lnTo>
                <a:lnTo>
                  <a:pt x="707343" y="16890"/>
                </a:lnTo>
                <a:lnTo>
                  <a:pt x="696047" y="14985"/>
                </a:lnTo>
                <a:lnTo>
                  <a:pt x="681595" y="6095"/>
                </a:lnTo>
                <a:close/>
              </a:path>
              <a:path w="2188210" h="22860">
                <a:moveTo>
                  <a:pt x="772593" y="6095"/>
                </a:moveTo>
                <a:lnTo>
                  <a:pt x="752846" y="6095"/>
                </a:lnTo>
                <a:lnTo>
                  <a:pt x="764138" y="7873"/>
                </a:lnTo>
                <a:lnTo>
                  <a:pt x="784759" y="20573"/>
                </a:lnTo>
                <a:lnTo>
                  <a:pt x="798339" y="22859"/>
                </a:lnTo>
                <a:lnTo>
                  <a:pt x="811917" y="20573"/>
                </a:lnTo>
                <a:lnTo>
                  <a:pt x="818085" y="16763"/>
                </a:lnTo>
                <a:lnTo>
                  <a:pt x="798336" y="16763"/>
                </a:lnTo>
                <a:lnTo>
                  <a:pt x="787044" y="14985"/>
                </a:lnTo>
                <a:lnTo>
                  <a:pt x="772593" y="6095"/>
                </a:lnTo>
                <a:close/>
              </a:path>
              <a:path w="2188210" h="22860">
                <a:moveTo>
                  <a:pt x="863579" y="6095"/>
                </a:moveTo>
                <a:lnTo>
                  <a:pt x="843837" y="6095"/>
                </a:lnTo>
                <a:lnTo>
                  <a:pt x="855128" y="7873"/>
                </a:lnTo>
                <a:lnTo>
                  <a:pt x="875749" y="20573"/>
                </a:lnTo>
                <a:lnTo>
                  <a:pt x="889330" y="22859"/>
                </a:lnTo>
                <a:lnTo>
                  <a:pt x="902910" y="20573"/>
                </a:lnTo>
                <a:lnTo>
                  <a:pt x="908875" y="16890"/>
                </a:lnTo>
                <a:lnTo>
                  <a:pt x="889325" y="16890"/>
                </a:lnTo>
                <a:lnTo>
                  <a:pt x="878029" y="14985"/>
                </a:lnTo>
                <a:lnTo>
                  <a:pt x="863579" y="6095"/>
                </a:lnTo>
                <a:close/>
              </a:path>
              <a:path w="2188210" h="22860">
                <a:moveTo>
                  <a:pt x="954572" y="6095"/>
                </a:moveTo>
                <a:lnTo>
                  <a:pt x="934823" y="6095"/>
                </a:lnTo>
                <a:lnTo>
                  <a:pt x="946120" y="7873"/>
                </a:lnTo>
                <a:lnTo>
                  <a:pt x="966745" y="20573"/>
                </a:lnTo>
                <a:lnTo>
                  <a:pt x="980325" y="22859"/>
                </a:lnTo>
                <a:lnTo>
                  <a:pt x="993906" y="20573"/>
                </a:lnTo>
                <a:lnTo>
                  <a:pt x="999870" y="16890"/>
                </a:lnTo>
                <a:lnTo>
                  <a:pt x="980320" y="16890"/>
                </a:lnTo>
                <a:lnTo>
                  <a:pt x="969024" y="14985"/>
                </a:lnTo>
                <a:lnTo>
                  <a:pt x="954572" y="6095"/>
                </a:lnTo>
                <a:close/>
              </a:path>
              <a:path w="2188210" h="22860">
                <a:moveTo>
                  <a:pt x="1045567" y="6095"/>
                </a:moveTo>
                <a:lnTo>
                  <a:pt x="1025818" y="6095"/>
                </a:lnTo>
                <a:lnTo>
                  <a:pt x="1037116" y="7873"/>
                </a:lnTo>
                <a:lnTo>
                  <a:pt x="1057740" y="20573"/>
                </a:lnTo>
                <a:lnTo>
                  <a:pt x="1071321" y="22859"/>
                </a:lnTo>
                <a:lnTo>
                  <a:pt x="1084901" y="20573"/>
                </a:lnTo>
                <a:lnTo>
                  <a:pt x="1090866" y="16890"/>
                </a:lnTo>
                <a:lnTo>
                  <a:pt x="1071316" y="16890"/>
                </a:lnTo>
                <a:lnTo>
                  <a:pt x="1060020" y="14985"/>
                </a:lnTo>
                <a:lnTo>
                  <a:pt x="1045567" y="6095"/>
                </a:lnTo>
                <a:close/>
              </a:path>
              <a:path w="2188210" h="22860">
                <a:moveTo>
                  <a:pt x="1136580" y="6095"/>
                </a:moveTo>
                <a:lnTo>
                  <a:pt x="1116804" y="6095"/>
                </a:lnTo>
                <a:lnTo>
                  <a:pt x="1128104" y="7873"/>
                </a:lnTo>
                <a:lnTo>
                  <a:pt x="1148737" y="20573"/>
                </a:lnTo>
                <a:lnTo>
                  <a:pt x="1162311" y="22859"/>
                </a:lnTo>
                <a:lnTo>
                  <a:pt x="1175888" y="20573"/>
                </a:lnTo>
                <a:lnTo>
                  <a:pt x="1181867" y="16890"/>
                </a:lnTo>
                <a:lnTo>
                  <a:pt x="1162311" y="16890"/>
                </a:lnTo>
                <a:lnTo>
                  <a:pt x="1151017" y="14985"/>
                </a:lnTo>
                <a:lnTo>
                  <a:pt x="1136580" y="6095"/>
                </a:lnTo>
                <a:close/>
              </a:path>
              <a:path w="2188210" h="22860">
                <a:moveTo>
                  <a:pt x="1227574" y="6095"/>
                </a:moveTo>
                <a:lnTo>
                  <a:pt x="1207800" y="6095"/>
                </a:lnTo>
                <a:lnTo>
                  <a:pt x="1219100" y="8000"/>
                </a:lnTo>
                <a:lnTo>
                  <a:pt x="1228420" y="13588"/>
                </a:lnTo>
                <a:lnTo>
                  <a:pt x="1239715" y="20573"/>
                </a:lnTo>
                <a:lnTo>
                  <a:pt x="1253288" y="22859"/>
                </a:lnTo>
                <a:lnTo>
                  <a:pt x="1266873" y="20573"/>
                </a:lnTo>
                <a:lnTo>
                  <a:pt x="1272855" y="16890"/>
                </a:lnTo>
                <a:lnTo>
                  <a:pt x="1253307" y="16890"/>
                </a:lnTo>
                <a:lnTo>
                  <a:pt x="1242012" y="14985"/>
                </a:lnTo>
                <a:lnTo>
                  <a:pt x="1227574" y="6095"/>
                </a:lnTo>
                <a:close/>
              </a:path>
              <a:path w="2188210" h="22860">
                <a:moveTo>
                  <a:pt x="1318570" y="6095"/>
                </a:moveTo>
                <a:lnTo>
                  <a:pt x="1298795" y="6095"/>
                </a:lnTo>
                <a:lnTo>
                  <a:pt x="1310095" y="8000"/>
                </a:lnTo>
                <a:lnTo>
                  <a:pt x="1319415" y="13588"/>
                </a:lnTo>
                <a:lnTo>
                  <a:pt x="1330710" y="20573"/>
                </a:lnTo>
                <a:lnTo>
                  <a:pt x="1344283" y="22859"/>
                </a:lnTo>
                <a:lnTo>
                  <a:pt x="1357868" y="20573"/>
                </a:lnTo>
                <a:lnTo>
                  <a:pt x="1363851" y="16890"/>
                </a:lnTo>
                <a:lnTo>
                  <a:pt x="1344302" y="16890"/>
                </a:lnTo>
                <a:lnTo>
                  <a:pt x="1333008" y="14985"/>
                </a:lnTo>
                <a:lnTo>
                  <a:pt x="1318570" y="6095"/>
                </a:lnTo>
                <a:close/>
              </a:path>
              <a:path w="2188210" h="22860">
                <a:moveTo>
                  <a:pt x="1409556" y="6095"/>
                </a:moveTo>
                <a:lnTo>
                  <a:pt x="1389794" y="6095"/>
                </a:lnTo>
                <a:lnTo>
                  <a:pt x="1401091" y="7873"/>
                </a:lnTo>
                <a:lnTo>
                  <a:pt x="1421718" y="20573"/>
                </a:lnTo>
                <a:lnTo>
                  <a:pt x="1435295" y="22859"/>
                </a:lnTo>
                <a:lnTo>
                  <a:pt x="1448869" y="20573"/>
                </a:lnTo>
                <a:lnTo>
                  <a:pt x="1454834" y="16890"/>
                </a:lnTo>
                <a:lnTo>
                  <a:pt x="1435285" y="16890"/>
                </a:lnTo>
                <a:lnTo>
                  <a:pt x="1423991" y="14985"/>
                </a:lnTo>
                <a:lnTo>
                  <a:pt x="1409556" y="6095"/>
                </a:lnTo>
                <a:close/>
              </a:path>
              <a:path w="2188210" h="22860">
                <a:moveTo>
                  <a:pt x="1500533" y="6095"/>
                </a:moveTo>
                <a:lnTo>
                  <a:pt x="1480786" y="6095"/>
                </a:lnTo>
                <a:lnTo>
                  <a:pt x="1492077" y="7873"/>
                </a:lnTo>
                <a:lnTo>
                  <a:pt x="1512696" y="20573"/>
                </a:lnTo>
                <a:lnTo>
                  <a:pt x="1526274" y="22859"/>
                </a:lnTo>
                <a:lnTo>
                  <a:pt x="1539855" y="20573"/>
                </a:lnTo>
                <a:lnTo>
                  <a:pt x="1545825" y="16890"/>
                </a:lnTo>
                <a:lnTo>
                  <a:pt x="1526284" y="16890"/>
                </a:lnTo>
                <a:lnTo>
                  <a:pt x="1514986" y="14985"/>
                </a:lnTo>
                <a:lnTo>
                  <a:pt x="1500533" y="6095"/>
                </a:lnTo>
                <a:close/>
              </a:path>
              <a:path w="2188210" h="22860">
                <a:moveTo>
                  <a:pt x="1591531" y="6095"/>
                </a:moveTo>
                <a:lnTo>
                  <a:pt x="1571782" y="6095"/>
                </a:lnTo>
                <a:lnTo>
                  <a:pt x="1583073" y="7873"/>
                </a:lnTo>
                <a:lnTo>
                  <a:pt x="1603690" y="20573"/>
                </a:lnTo>
                <a:lnTo>
                  <a:pt x="1617275" y="22859"/>
                </a:lnTo>
                <a:lnTo>
                  <a:pt x="1630860" y="20573"/>
                </a:lnTo>
                <a:lnTo>
                  <a:pt x="1636825" y="16890"/>
                </a:lnTo>
                <a:lnTo>
                  <a:pt x="1617279" y="16890"/>
                </a:lnTo>
                <a:lnTo>
                  <a:pt x="1605982" y="14985"/>
                </a:lnTo>
                <a:lnTo>
                  <a:pt x="1591531" y="6095"/>
                </a:lnTo>
                <a:close/>
              </a:path>
              <a:path w="2188210" h="22860">
                <a:moveTo>
                  <a:pt x="1682526" y="6095"/>
                </a:moveTo>
                <a:lnTo>
                  <a:pt x="1662772" y="6095"/>
                </a:lnTo>
                <a:lnTo>
                  <a:pt x="1674066" y="7873"/>
                </a:lnTo>
                <a:lnTo>
                  <a:pt x="1694685" y="20573"/>
                </a:lnTo>
                <a:lnTo>
                  <a:pt x="1708270" y="22859"/>
                </a:lnTo>
                <a:lnTo>
                  <a:pt x="1721855" y="20573"/>
                </a:lnTo>
                <a:lnTo>
                  <a:pt x="1727820" y="16890"/>
                </a:lnTo>
                <a:lnTo>
                  <a:pt x="1708280" y="16890"/>
                </a:lnTo>
                <a:lnTo>
                  <a:pt x="1696983" y="14985"/>
                </a:lnTo>
                <a:lnTo>
                  <a:pt x="1682526" y="6095"/>
                </a:lnTo>
                <a:close/>
              </a:path>
              <a:path w="2188210" h="22860">
                <a:moveTo>
                  <a:pt x="1773517" y="6095"/>
                </a:moveTo>
                <a:lnTo>
                  <a:pt x="1753768" y="6095"/>
                </a:lnTo>
                <a:lnTo>
                  <a:pt x="1765062" y="7873"/>
                </a:lnTo>
                <a:lnTo>
                  <a:pt x="1785673" y="20573"/>
                </a:lnTo>
                <a:lnTo>
                  <a:pt x="1799256" y="22859"/>
                </a:lnTo>
                <a:lnTo>
                  <a:pt x="1812844" y="20573"/>
                </a:lnTo>
                <a:lnTo>
                  <a:pt x="1818825" y="16890"/>
                </a:lnTo>
                <a:lnTo>
                  <a:pt x="1799275" y="16890"/>
                </a:lnTo>
                <a:lnTo>
                  <a:pt x="1787978" y="14985"/>
                </a:lnTo>
                <a:lnTo>
                  <a:pt x="1773517" y="6095"/>
                </a:lnTo>
                <a:close/>
              </a:path>
              <a:path w="2188210" h="22860">
                <a:moveTo>
                  <a:pt x="1864512" y="6095"/>
                </a:moveTo>
                <a:lnTo>
                  <a:pt x="1844763" y="6095"/>
                </a:lnTo>
                <a:lnTo>
                  <a:pt x="1856057" y="7873"/>
                </a:lnTo>
                <a:lnTo>
                  <a:pt x="1876681" y="20573"/>
                </a:lnTo>
                <a:lnTo>
                  <a:pt x="1890264" y="22859"/>
                </a:lnTo>
                <a:lnTo>
                  <a:pt x="1903843" y="20573"/>
                </a:lnTo>
                <a:lnTo>
                  <a:pt x="1909803" y="16890"/>
                </a:lnTo>
                <a:lnTo>
                  <a:pt x="1890264" y="16890"/>
                </a:lnTo>
                <a:lnTo>
                  <a:pt x="1878972" y="14985"/>
                </a:lnTo>
                <a:lnTo>
                  <a:pt x="1864512" y="6095"/>
                </a:lnTo>
                <a:close/>
              </a:path>
              <a:path w="2188210" h="22860">
                <a:moveTo>
                  <a:pt x="1955512" y="6095"/>
                </a:moveTo>
                <a:lnTo>
                  <a:pt x="1935762" y="6095"/>
                </a:lnTo>
                <a:lnTo>
                  <a:pt x="1947054" y="7873"/>
                </a:lnTo>
                <a:lnTo>
                  <a:pt x="1967677" y="20573"/>
                </a:lnTo>
                <a:lnTo>
                  <a:pt x="1981260" y="22859"/>
                </a:lnTo>
                <a:lnTo>
                  <a:pt x="1994838" y="20573"/>
                </a:lnTo>
                <a:lnTo>
                  <a:pt x="2000799" y="16890"/>
                </a:lnTo>
                <a:lnTo>
                  <a:pt x="1981250" y="16890"/>
                </a:lnTo>
                <a:lnTo>
                  <a:pt x="1969956" y="14985"/>
                </a:lnTo>
                <a:lnTo>
                  <a:pt x="1955512" y="6095"/>
                </a:lnTo>
                <a:close/>
              </a:path>
              <a:path w="2188210" h="22860">
                <a:moveTo>
                  <a:pt x="2046507" y="6095"/>
                </a:moveTo>
                <a:lnTo>
                  <a:pt x="2026758" y="6095"/>
                </a:lnTo>
                <a:lnTo>
                  <a:pt x="2038050" y="7873"/>
                </a:lnTo>
                <a:lnTo>
                  <a:pt x="2047354" y="13588"/>
                </a:lnTo>
                <a:lnTo>
                  <a:pt x="2052588" y="17652"/>
                </a:lnTo>
                <a:lnTo>
                  <a:pt x="2058671" y="20573"/>
                </a:lnTo>
                <a:lnTo>
                  <a:pt x="2065319" y="22351"/>
                </a:lnTo>
                <a:lnTo>
                  <a:pt x="2072246" y="22859"/>
                </a:lnTo>
                <a:lnTo>
                  <a:pt x="2079180" y="22351"/>
                </a:lnTo>
                <a:lnTo>
                  <a:pt x="2085830" y="20573"/>
                </a:lnTo>
                <a:lnTo>
                  <a:pt x="2091911" y="17652"/>
                </a:lnTo>
                <a:lnTo>
                  <a:pt x="2092891" y="16890"/>
                </a:lnTo>
                <a:lnTo>
                  <a:pt x="2072246" y="16890"/>
                </a:lnTo>
                <a:lnTo>
                  <a:pt x="2060952" y="14985"/>
                </a:lnTo>
                <a:lnTo>
                  <a:pt x="2046507" y="6095"/>
                </a:lnTo>
                <a:close/>
              </a:path>
              <a:path w="2188210" h="22860">
                <a:moveTo>
                  <a:pt x="2137503" y="6095"/>
                </a:moveTo>
                <a:lnTo>
                  <a:pt x="2117753" y="6095"/>
                </a:lnTo>
                <a:lnTo>
                  <a:pt x="2129045" y="7873"/>
                </a:lnTo>
                <a:lnTo>
                  <a:pt x="2149664" y="20573"/>
                </a:lnTo>
                <a:lnTo>
                  <a:pt x="2163241" y="22859"/>
                </a:lnTo>
                <a:lnTo>
                  <a:pt x="2176818" y="20573"/>
                </a:lnTo>
                <a:lnTo>
                  <a:pt x="2182784" y="16890"/>
                </a:lnTo>
                <a:lnTo>
                  <a:pt x="2163241" y="16890"/>
                </a:lnTo>
                <a:lnTo>
                  <a:pt x="2151947" y="14985"/>
                </a:lnTo>
                <a:lnTo>
                  <a:pt x="2137503" y="6095"/>
                </a:lnTo>
                <a:close/>
              </a:path>
              <a:path w="2188210" h="22860">
                <a:moveTo>
                  <a:pt x="206867" y="0"/>
                </a:moveTo>
                <a:lnTo>
                  <a:pt x="193293" y="2285"/>
                </a:lnTo>
                <a:lnTo>
                  <a:pt x="172672" y="14985"/>
                </a:lnTo>
                <a:lnTo>
                  <a:pt x="161374" y="16890"/>
                </a:lnTo>
                <a:lnTo>
                  <a:pt x="180921" y="16890"/>
                </a:lnTo>
                <a:lnTo>
                  <a:pt x="195581" y="7873"/>
                </a:lnTo>
                <a:lnTo>
                  <a:pt x="206876" y="6095"/>
                </a:lnTo>
                <a:lnTo>
                  <a:pt x="226618" y="6095"/>
                </a:lnTo>
                <a:lnTo>
                  <a:pt x="220445" y="2285"/>
                </a:lnTo>
                <a:lnTo>
                  <a:pt x="206867" y="0"/>
                </a:lnTo>
                <a:close/>
              </a:path>
              <a:path w="2188210" h="22860">
                <a:moveTo>
                  <a:pt x="297867" y="0"/>
                </a:moveTo>
                <a:lnTo>
                  <a:pt x="284290" y="2285"/>
                </a:lnTo>
                <a:lnTo>
                  <a:pt x="263668" y="14985"/>
                </a:lnTo>
                <a:lnTo>
                  <a:pt x="252369" y="16890"/>
                </a:lnTo>
                <a:lnTo>
                  <a:pt x="271919" y="16890"/>
                </a:lnTo>
                <a:lnTo>
                  <a:pt x="277266" y="13588"/>
                </a:lnTo>
                <a:lnTo>
                  <a:pt x="286572" y="8000"/>
                </a:lnTo>
                <a:lnTo>
                  <a:pt x="297867" y="6095"/>
                </a:lnTo>
                <a:lnTo>
                  <a:pt x="317616" y="6095"/>
                </a:lnTo>
                <a:lnTo>
                  <a:pt x="311446" y="2285"/>
                </a:lnTo>
                <a:lnTo>
                  <a:pt x="297867" y="0"/>
                </a:lnTo>
                <a:close/>
              </a:path>
              <a:path w="2188210" h="22860">
                <a:moveTo>
                  <a:pt x="388867" y="0"/>
                </a:moveTo>
                <a:lnTo>
                  <a:pt x="375291" y="2285"/>
                </a:lnTo>
                <a:lnTo>
                  <a:pt x="354663" y="14985"/>
                </a:lnTo>
                <a:lnTo>
                  <a:pt x="343365" y="16890"/>
                </a:lnTo>
                <a:lnTo>
                  <a:pt x="362914" y="16890"/>
                </a:lnTo>
                <a:lnTo>
                  <a:pt x="368261" y="13588"/>
                </a:lnTo>
                <a:lnTo>
                  <a:pt x="377565" y="8000"/>
                </a:lnTo>
                <a:lnTo>
                  <a:pt x="388858" y="6095"/>
                </a:lnTo>
                <a:lnTo>
                  <a:pt x="408612" y="6095"/>
                </a:lnTo>
                <a:lnTo>
                  <a:pt x="402443" y="2285"/>
                </a:lnTo>
                <a:lnTo>
                  <a:pt x="388867" y="0"/>
                </a:lnTo>
                <a:close/>
              </a:path>
              <a:path w="2188210" h="22860">
                <a:moveTo>
                  <a:pt x="479863" y="0"/>
                </a:moveTo>
                <a:lnTo>
                  <a:pt x="466286" y="2285"/>
                </a:lnTo>
                <a:lnTo>
                  <a:pt x="445657" y="14985"/>
                </a:lnTo>
                <a:lnTo>
                  <a:pt x="434355" y="16890"/>
                </a:lnTo>
                <a:lnTo>
                  <a:pt x="453910" y="16890"/>
                </a:lnTo>
                <a:lnTo>
                  <a:pt x="459257" y="13588"/>
                </a:lnTo>
                <a:lnTo>
                  <a:pt x="468561" y="8000"/>
                </a:lnTo>
                <a:lnTo>
                  <a:pt x="479853" y="6095"/>
                </a:lnTo>
                <a:lnTo>
                  <a:pt x="499608" y="6095"/>
                </a:lnTo>
                <a:lnTo>
                  <a:pt x="493439" y="2285"/>
                </a:lnTo>
                <a:lnTo>
                  <a:pt x="479863" y="0"/>
                </a:lnTo>
                <a:close/>
              </a:path>
              <a:path w="2188210" h="22860">
                <a:moveTo>
                  <a:pt x="570850" y="0"/>
                </a:moveTo>
                <a:lnTo>
                  <a:pt x="557266" y="2285"/>
                </a:lnTo>
                <a:lnTo>
                  <a:pt x="536649" y="14985"/>
                </a:lnTo>
                <a:lnTo>
                  <a:pt x="525357" y="16890"/>
                </a:lnTo>
                <a:lnTo>
                  <a:pt x="544896" y="16890"/>
                </a:lnTo>
                <a:lnTo>
                  <a:pt x="559553" y="7873"/>
                </a:lnTo>
                <a:lnTo>
                  <a:pt x="570850" y="6095"/>
                </a:lnTo>
                <a:lnTo>
                  <a:pt x="590602" y="6095"/>
                </a:lnTo>
                <a:lnTo>
                  <a:pt x="584432" y="2285"/>
                </a:lnTo>
                <a:lnTo>
                  <a:pt x="570850" y="0"/>
                </a:lnTo>
                <a:close/>
              </a:path>
              <a:path w="2188210" h="22860">
                <a:moveTo>
                  <a:pt x="661841" y="0"/>
                </a:moveTo>
                <a:lnTo>
                  <a:pt x="648259" y="2285"/>
                </a:lnTo>
                <a:lnTo>
                  <a:pt x="627644" y="14985"/>
                </a:lnTo>
                <a:lnTo>
                  <a:pt x="616353" y="16890"/>
                </a:lnTo>
                <a:lnTo>
                  <a:pt x="635888" y="16890"/>
                </a:lnTo>
                <a:lnTo>
                  <a:pt x="650548" y="7873"/>
                </a:lnTo>
                <a:lnTo>
                  <a:pt x="661846" y="6095"/>
                </a:lnTo>
                <a:lnTo>
                  <a:pt x="681595" y="6095"/>
                </a:lnTo>
                <a:lnTo>
                  <a:pt x="675422" y="2285"/>
                </a:lnTo>
                <a:lnTo>
                  <a:pt x="661841" y="0"/>
                </a:lnTo>
                <a:close/>
              </a:path>
              <a:path w="2188210" h="22860">
                <a:moveTo>
                  <a:pt x="752841" y="0"/>
                </a:moveTo>
                <a:lnTo>
                  <a:pt x="739257" y="2285"/>
                </a:lnTo>
                <a:lnTo>
                  <a:pt x="718638" y="14985"/>
                </a:lnTo>
                <a:lnTo>
                  <a:pt x="707343" y="16890"/>
                </a:lnTo>
                <a:lnTo>
                  <a:pt x="726884" y="16890"/>
                </a:lnTo>
                <a:lnTo>
                  <a:pt x="741549" y="7873"/>
                </a:lnTo>
                <a:lnTo>
                  <a:pt x="752846" y="6095"/>
                </a:lnTo>
                <a:lnTo>
                  <a:pt x="772593" y="6095"/>
                </a:lnTo>
                <a:lnTo>
                  <a:pt x="766423" y="2285"/>
                </a:lnTo>
                <a:lnTo>
                  <a:pt x="752841" y="0"/>
                </a:lnTo>
                <a:close/>
              </a:path>
              <a:path w="2188210" h="22860">
                <a:moveTo>
                  <a:pt x="934823" y="0"/>
                </a:moveTo>
                <a:lnTo>
                  <a:pt x="921246" y="2285"/>
                </a:lnTo>
                <a:lnTo>
                  <a:pt x="900623" y="14985"/>
                </a:lnTo>
                <a:lnTo>
                  <a:pt x="889325" y="16890"/>
                </a:lnTo>
                <a:lnTo>
                  <a:pt x="908875" y="16890"/>
                </a:lnTo>
                <a:lnTo>
                  <a:pt x="914222" y="13588"/>
                </a:lnTo>
                <a:lnTo>
                  <a:pt x="923527" y="8000"/>
                </a:lnTo>
                <a:lnTo>
                  <a:pt x="934823" y="6095"/>
                </a:lnTo>
                <a:lnTo>
                  <a:pt x="954572" y="6095"/>
                </a:lnTo>
                <a:lnTo>
                  <a:pt x="948402" y="2285"/>
                </a:lnTo>
                <a:lnTo>
                  <a:pt x="934823" y="0"/>
                </a:lnTo>
                <a:close/>
              </a:path>
              <a:path w="2188210" h="22860">
                <a:moveTo>
                  <a:pt x="1025818" y="0"/>
                </a:moveTo>
                <a:lnTo>
                  <a:pt x="1012241" y="2285"/>
                </a:lnTo>
                <a:lnTo>
                  <a:pt x="991619" y="14985"/>
                </a:lnTo>
                <a:lnTo>
                  <a:pt x="980320" y="16890"/>
                </a:lnTo>
                <a:lnTo>
                  <a:pt x="999870" y="16890"/>
                </a:lnTo>
                <a:lnTo>
                  <a:pt x="1005217" y="13588"/>
                </a:lnTo>
                <a:lnTo>
                  <a:pt x="1014523" y="8000"/>
                </a:lnTo>
                <a:lnTo>
                  <a:pt x="1025818" y="6095"/>
                </a:lnTo>
                <a:lnTo>
                  <a:pt x="1045567" y="6095"/>
                </a:lnTo>
                <a:lnTo>
                  <a:pt x="1039397" y="2285"/>
                </a:lnTo>
                <a:lnTo>
                  <a:pt x="1025818" y="0"/>
                </a:lnTo>
                <a:close/>
              </a:path>
              <a:path w="2188210" h="22860">
                <a:moveTo>
                  <a:pt x="1116811" y="0"/>
                </a:moveTo>
                <a:lnTo>
                  <a:pt x="1103235" y="2285"/>
                </a:lnTo>
                <a:lnTo>
                  <a:pt x="1082614" y="14985"/>
                </a:lnTo>
                <a:lnTo>
                  <a:pt x="1071316" y="16890"/>
                </a:lnTo>
                <a:lnTo>
                  <a:pt x="1090866" y="16890"/>
                </a:lnTo>
                <a:lnTo>
                  <a:pt x="1096213" y="13588"/>
                </a:lnTo>
                <a:lnTo>
                  <a:pt x="1105511" y="8000"/>
                </a:lnTo>
                <a:lnTo>
                  <a:pt x="1116804" y="6095"/>
                </a:lnTo>
                <a:lnTo>
                  <a:pt x="1136580" y="6095"/>
                </a:lnTo>
                <a:lnTo>
                  <a:pt x="1130393" y="2285"/>
                </a:lnTo>
                <a:lnTo>
                  <a:pt x="1116811" y="0"/>
                </a:lnTo>
                <a:close/>
              </a:path>
              <a:path w="2188210" h="22860">
                <a:moveTo>
                  <a:pt x="1207800" y="0"/>
                </a:moveTo>
                <a:lnTo>
                  <a:pt x="1194220" y="2285"/>
                </a:lnTo>
                <a:lnTo>
                  <a:pt x="1173608" y="14985"/>
                </a:lnTo>
                <a:lnTo>
                  <a:pt x="1162311" y="16890"/>
                </a:lnTo>
                <a:lnTo>
                  <a:pt x="1181867" y="16890"/>
                </a:lnTo>
                <a:lnTo>
                  <a:pt x="1196507" y="7873"/>
                </a:lnTo>
                <a:lnTo>
                  <a:pt x="1207800" y="6095"/>
                </a:lnTo>
                <a:lnTo>
                  <a:pt x="1227574" y="6095"/>
                </a:lnTo>
                <a:lnTo>
                  <a:pt x="1221386" y="2285"/>
                </a:lnTo>
                <a:lnTo>
                  <a:pt x="1207800" y="0"/>
                </a:lnTo>
                <a:close/>
              </a:path>
              <a:path w="2188210" h="22860">
                <a:moveTo>
                  <a:pt x="1298795" y="0"/>
                </a:moveTo>
                <a:lnTo>
                  <a:pt x="1285215" y="2285"/>
                </a:lnTo>
                <a:lnTo>
                  <a:pt x="1264604" y="14985"/>
                </a:lnTo>
                <a:lnTo>
                  <a:pt x="1253307" y="16890"/>
                </a:lnTo>
                <a:lnTo>
                  <a:pt x="1272855" y="16890"/>
                </a:lnTo>
                <a:lnTo>
                  <a:pt x="1287502" y="7873"/>
                </a:lnTo>
                <a:lnTo>
                  <a:pt x="1298795" y="6095"/>
                </a:lnTo>
                <a:lnTo>
                  <a:pt x="1318570" y="6095"/>
                </a:lnTo>
                <a:lnTo>
                  <a:pt x="1312382" y="2285"/>
                </a:lnTo>
                <a:lnTo>
                  <a:pt x="1298795" y="0"/>
                </a:lnTo>
                <a:close/>
              </a:path>
              <a:path w="2188210" h="22860">
                <a:moveTo>
                  <a:pt x="1389794" y="0"/>
                </a:moveTo>
                <a:lnTo>
                  <a:pt x="1376220" y="2285"/>
                </a:lnTo>
                <a:lnTo>
                  <a:pt x="1355599" y="14985"/>
                </a:lnTo>
                <a:lnTo>
                  <a:pt x="1344302" y="16890"/>
                </a:lnTo>
                <a:lnTo>
                  <a:pt x="1363851" y="16890"/>
                </a:lnTo>
                <a:lnTo>
                  <a:pt x="1378499" y="7873"/>
                </a:lnTo>
                <a:lnTo>
                  <a:pt x="1389794" y="6095"/>
                </a:lnTo>
                <a:lnTo>
                  <a:pt x="1409556" y="6095"/>
                </a:lnTo>
                <a:lnTo>
                  <a:pt x="1403370" y="2285"/>
                </a:lnTo>
                <a:lnTo>
                  <a:pt x="1389794" y="0"/>
                </a:lnTo>
                <a:close/>
              </a:path>
              <a:path w="2188210" h="22860">
                <a:moveTo>
                  <a:pt x="1480786" y="0"/>
                </a:moveTo>
                <a:lnTo>
                  <a:pt x="1467206" y="2285"/>
                </a:lnTo>
                <a:lnTo>
                  <a:pt x="1446582" y="14985"/>
                </a:lnTo>
                <a:lnTo>
                  <a:pt x="1435285" y="16890"/>
                </a:lnTo>
                <a:lnTo>
                  <a:pt x="1454834" y="16890"/>
                </a:lnTo>
                <a:lnTo>
                  <a:pt x="1469493" y="7873"/>
                </a:lnTo>
                <a:lnTo>
                  <a:pt x="1480786" y="6095"/>
                </a:lnTo>
                <a:lnTo>
                  <a:pt x="1500533" y="6095"/>
                </a:lnTo>
                <a:lnTo>
                  <a:pt x="1494364" y="2285"/>
                </a:lnTo>
                <a:lnTo>
                  <a:pt x="1480786" y="0"/>
                </a:lnTo>
                <a:close/>
              </a:path>
              <a:path w="2188210" h="22860">
                <a:moveTo>
                  <a:pt x="1571786" y="0"/>
                </a:moveTo>
                <a:lnTo>
                  <a:pt x="1558203" y="2285"/>
                </a:lnTo>
                <a:lnTo>
                  <a:pt x="1537579" y="14985"/>
                </a:lnTo>
                <a:lnTo>
                  <a:pt x="1526284" y="16890"/>
                </a:lnTo>
                <a:lnTo>
                  <a:pt x="1545825" y="16890"/>
                </a:lnTo>
                <a:lnTo>
                  <a:pt x="1560488" y="7873"/>
                </a:lnTo>
                <a:lnTo>
                  <a:pt x="1571782" y="6095"/>
                </a:lnTo>
                <a:lnTo>
                  <a:pt x="1591531" y="6095"/>
                </a:lnTo>
                <a:lnTo>
                  <a:pt x="1585365" y="2285"/>
                </a:lnTo>
                <a:lnTo>
                  <a:pt x="1571786" y="0"/>
                </a:lnTo>
                <a:close/>
              </a:path>
              <a:path w="2188210" h="22860">
                <a:moveTo>
                  <a:pt x="1662782" y="0"/>
                </a:moveTo>
                <a:lnTo>
                  <a:pt x="1649199" y="2285"/>
                </a:lnTo>
                <a:lnTo>
                  <a:pt x="1628575" y="14985"/>
                </a:lnTo>
                <a:lnTo>
                  <a:pt x="1617279" y="16890"/>
                </a:lnTo>
                <a:lnTo>
                  <a:pt x="1636825" y="16890"/>
                </a:lnTo>
                <a:lnTo>
                  <a:pt x="1651479" y="7873"/>
                </a:lnTo>
                <a:lnTo>
                  <a:pt x="1662772" y="6095"/>
                </a:lnTo>
                <a:lnTo>
                  <a:pt x="1682526" y="6095"/>
                </a:lnTo>
                <a:lnTo>
                  <a:pt x="1676360" y="2285"/>
                </a:lnTo>
                <a:lnTo>
                  <a:pt x="1662782" y="0"/>
                </a:lnTo>
                <a:close/>
              </a:path>
              <a:path w="2188210" h="22860">
                <a:moveTo>
                  <a:pt x="1753768" y="0"/>
                </a:moveTo>
                <a:lnTo>
                  <a:pt x="1740191" y="2285"/>
                </a:lnTo>
                <a:lnTo>
                  <a:pt x="1719572" y="14985"/>
                </a:lnTo>
                <a:lnTo>
                  <a:pt x="1708280" y="16890"/>
                </a:lnTo>
                <a:lnTo>
                  <a:pt x="1727820" y="16890"/>
                </a:lnTo>
                <a:lnTo>
                  <a:pt x="1742474" y="7873"/>
                </a:lnTo>
                <a:lnTo>
                  <a:pt x="1753768" y="6095"/>
                </a:lnTo>
                <a:lnTo>
                  <a:pt x="1773517" y="6095"/>
                </a:lnTo>
                <a:lnTo>
                  <a:pt x="1767345" y="2285"/>
                </a:lnTo>
                <a:lnTo>
                  <a:pt x="1753768" y="0"/>
                </a:lnTo>
                <a:close/>
              </a:path>
              <a:path w="2188210" h="22860">
                <a:moveTo>
                  <a:pt x="1844763" y="0"/>
                </a:moveTo>
                <a:lnTo>
                  <a:pt x="1831186" y="2285"/>
                </a:lnTo>
                <a:lnTo>
                  <a:pt x="1810567" y="14985"/>
                </a:lnTo>
                <a:lnTo>
                  <a:pt x="1799275" y="16890"/>
                </a:lnTo>
                <a:lnTo>
                  <a:pt x="1818825" y="16890"/>
                </a:lnTo>
                <a:lnTo>
                  <a:pt x="1833470" y="7873"/>
                </a:lnTo>
                <a:lnTo>
                  <a:pt x="1844763" y="6095"/>
                </a:lnTo>
                <a:lnTo>
                  <a:pt x="1864512" y="6095"/>
                </a:lnTo>
                <a:lnTo>
                  <a:pt x="1858340" y="2285"/>
                </a:lnTo>
                <a:lnTo>
                  <a:pt x="1844763" y="0"/>
                </a:lnTo>
                <a:close/>
              </a:path>
              <a:path w="2188210" h="22860">
                <a:moveTo>
                  <a:pt x="1935762" y="0"/>
                </a:moveTo>
                <a:lnTo>
                  <a:pt x="1922175" y="2285"/>
                </a:lnTo>
                <a:lnTo>
                  <a:pt x="1901552" y="14985"/>
                </a:lnTo>
                <a:lnTo>
                  <a:pt x="1890264" y="16890"/>
                </a:lnTo>
                <a:lnTo>
                  <a:pt x="1909803" y="16890"/>
                </a:lnTo>
                <a:lnTo>
                  <a:pt x="1924465" y="7873"/>
                </a:lnTo>
                <a:lnTo>
                  <a:pt x="1935762" y="6095"/>
                </a:lnTo>
                <a:lnTo>
                  <a:pt x="1955512" y="6095"/>
                </a:lnTo>
                <a:lnTo>
                  <a:pt x="1949345" y="2285"/>
                </a:lnTo>
                <a:lnTo>
                  <a:pt x="1935762" y="0"/>
                </a:lnTo>
                <a:close/>
              </a:path>
              <a:path w="2188210" h="22860">
                <a:moveTo>
                  <a:pt x="2026758" y="0"/>
                </a:moveTo>
                <a:lnTo>
                  <a:pt x="2013170" y="2285"/>
                </a:lnTo>
                <a:lnTo>
                  <a:pt x="1992544" y="14985"/>
                </a:lnTo>
                <a:lnTo>
                  <a:pt x="1981250" y="16890"/>
                </a:lnTo>
                <a:lnTo>
                  <a:pt x="2000799" y="16890"/>
                </a:lnTo>
                <a:lnTo>
                  <a:pt x="2015461" y="7873"/>
                </a:lnTo>
                <a:lnTo>
                  <a:pt x="2026758" y="6095"/>
                </a:lnTo>
                <a:lnTo>
                  <a:pt x="2046507" y="6095"/>
                </a:lnTo>
                <a:lnTo>
                  <a:pt x="2040340" y="2285"/>
                </a:lnTo>
                <a:lnTo>
                  <a:pt x="2026758" y="0"/>
                </a:lnTo>
                <a:close/>
              </a:path>
              <a:path w="2188210" h="22860">
                <a:moveTo>
                  <a:pt x="2117753" y="0"/>
                </a:moveTo>
                <a:lnTo>
                  <a:pt x="2104166" y="2285"/>
                </a:lnTo>
                <a:lnTo>
                  <a:pt x="2083540" y="14985"/>
                </a:lnTo>
                <a:lnTo>
                  <a:pt x="2072246" y="16890"/>
                </a:lnTo>
                <a:lnTo>
                  <a:pt x="2092891" y="16890"/>
                </a:lnTo>
                <a:lnTo>
                  <a:pt x="2097138" y="13588"/>
                </a:lnTo>
                <a:lnTo>
                  <a:pt x="2106456" y="7873"/>
                </a:lnTo>
                <a:lnTo>
                  <a:pt x="2117753" y="6095"/>
                </a:lnTo>
                <a:lnTo>
                  <a:pt x="2137503" y="6095"/>
                </a:lnTo>
                <a:lnTo>
                  <a:pt x="2131336" y="2285"/>
                </a:lnTo>
                <a:lnTo>
                  <a:pt x="2117753" y="0"/>
                </a:lnTo>
                <a:close/>
              </a:path>
              <a:path w="2188210" h="22860">
                <a:moveTo>
                  <a:pt x="2183841" y="9270"/>
                </a:moveTo>
                <a:lnTo>
                  <a:pt x="2174535" y="14985"/>
                </a:lnTo>
                <a:lnTo>
                  <a:pt x="2163241" y="16890"/>
                </a:lnTo>
                <a:lnTo>
                  <a:pt x="2182784" y="16890"/>
                </a:lnTo>
                <a:lnTo>
                  <a:pt x="2188133" y="13588"/>
                </a:lnTo>
                <a:lnTo>
                  <a:pt x="2183841" y="9270"/>
                </a:lnTo>
                <a:close/>
              </a:path>
              <a:path w="2188210" h="22860">
                <a:moveTo>
                  <a:pt x="115881" y="0"/>
                </a:moveTo>
                <a:lnTo>
                  <a:pt x="102304" y="2285"/>
                </a:lnTo>
                <a:lnTo>
                  <a:pt x="81677" y="14985"/>
                </a:lnTo>
                <a:lnTo>
                  <a:pt x="70380" y="16763"/>
                </a:lnTo>
                <a:lnTo>
                  <a:pt x="90134" y="16763"/>
                </a:lnTo>
                <a:lnTo>
                  <a:pt x="104579" y="7873"/>
                </a:lnTo>
                <a:lnTo>
                  <a:pt x="115871" y="6095"/>
                </a:lnTo>
                <a:lnTo>
                  <a:pt x="135626" y="6095"/>
                </a:lnTo>
                <a:lnTo>
                  <a:pt x="129457" y="2285"/>
                </a:lnTo>
                <a:lnTo>
                  <a:pt x="115881" y="0"/>
                </a:lnTo>
                <a:close/>
              </a:path>
              <a:path w="2188210" h="22860">
                <a:moveTo>
                  <a:pt x="843837" y="0"/>
                </a:moveTo>
                <a:lnTo>
                  <a:pt x="830257" y="2285"/>
                </a:lnTo>
                <a:lnTo>
                  <a:pt x="809630" y="14985"/>
                </a:lnTo>
                <a:lnTo>
                  <a:pt x="798336" y="16763"/>
                </a:lnTo>
                <a:lnTo>
                  <a:pt x="818085" y="16763"/>
                </a:lnTo>
                <a:lnTo>
                  <a:pt x="832543" y="7873"/>
                </a:lnTo>
                <a:lnTo>
                  <a:pt x="843837" y="6095"/>
                </a:lnTo>
                <a:lnTo>
                  <a:pt x="863579" y="6095"/>
                </a:lnTo>
                <a:lnTo>
                  <a:pt x="857414" y="2285"/>
                </a:lnTo>
                <a:lnTo>
                  <a:pt x="843837" y="0"/>
                </a:lnTo>
                <a:close/>
              </a:path>
              <a:path w="2188210" h="22860">
                <a:moveTo>
                  <a:pt x="24887" y="0"/>
                </a:moveTo>
                <a:lnTo>
                  <a:pt x="11309" y="2285"/>
                </a:lnTo>
                <a:lnTo>
                  <a:pt x="0" y="9270"/>
                </a:lnTo>
                <a:lnTo>
                  <a:pt x="4279" y="13588"/>
                </a:lnTo>
                <a:lnTo>
                  <a:pt x="13590" y="7873"/>
                </a:lnTo>
                <a:lnTo>
                  <a:pt x="24885" y="6095"/>
                </a:lnTo>
                <a:lnTo>
                  <a:pt x="44640" y="6095"/>
                </a:lnTo>
                <a:lnTo>
                  <a:pt x="38467" y="2285"/>
                </a:lnTo>
                <a:lnTo>
                  <a:pt x="24887" y="0"/>
                </a:lnTo>
                <a:close/>
              </a:path>
            </a:pathLst>
          </a:custGeom>
          <a:solidFill>
            <a:srgbClr val="273F8F"/>
          </a:solidFill>
        </p:spPr>
        <p:txBody>
          <a:bodyPr wrap="square" lIns="0" tIns="0" rIns="0" bIns="0" rtlCol="0"/>
          <a:lstStyle/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bject 13">
            <a:extLst>
              <a:ext uri="{FF2B5EF4-FFF2-40B4-BE49-F238E27FC236}">
                <a16:creationId xmlns:a16="http://schemas.microsoft.com/office/drawing/2014/main" id="{C1C64B83-B540-4409-BDEB-7C671851F59F}"/>
              </a:ext>
            </a:extLst>
          </p:cNvPr>
          <p:cNvSpPr/>
          <p:nvPr/>
        </p:nvSpPr>
        <p:spPr>
          <a:xfrm>
            <a:off x="3534420" y="2452426"/>
            <a:ext cx="2188210" cy="22860"/>
          </a:xfrm>
          <a:custGeom>
            <a:avLst/>
            <a:gdLst/>
            <a:ahLst/>
            <a:cxnLst/>
            <a:rect l="l" t="t" r="r" b="b"/>
            <a:pathLst>
              <a:path w="2188210" h="22860">
                <a:moveTo>
                  <a:pt x="44640" y="6096"/>
                </a:moveTo>
                <a:lnTo>
                  <a:pt x="24885" y="6096"/>
                </a:lnTo>
                <a:lnTo>
                  <a:pt x="36180" y="7874"/>
                </a:lnTo>
                <a:lnTo>
                  <a:pt x="56800" y="20574"/>
                </a:lnTo>
                <a:lnTo>
                  <a:pt x="70378" y="22860"/>
                </a:lnTo>
                <a:lnTo>
                  <a:pt x="83958" y="20574"/>
                </a:lnTo>
                <a:lnTo>
                  <a:pt x="89925" y="16891"/>
                </a:lnTo>
                <a:lnTo>
                  <a:pt x="70380" y="16891"/>
                </a:lnTo>
                <a:lnTo>
                  <a:pt x="59087" y="14986"/>
                </a:lnTo>
                <a:lnTo>
                  <a:pt x="44640" y="6096"/>
                </a:lnTo>
                <a:close/>
              </a:path>
              <a:path w="2188210" h="22860">
                <a:moveTo>
                  <a:pt x="135626" y="6096"/>
                </a:moveTo>
                <a:lnTo>
                  <a:pt x="115871" y="6096"/>
                </a:lnTo>
                <a:lnTo>
                  <a:pt x="127168" y="7874"/>
                </a:lnTo>
                <a:lnTo>
                  <a:pt x="147798" y="20574"/>
                </a:lnTo>
                <a:lnTo>
                  <a:pt x="161378" y="22860"/>
                </a:lnTo>
                <a:lnTo>
                  <a:pt x="174959" y="20574"/>
                </a:lnTo>
                <a:lnTo>
                  <a:pt x="180923" y="16891"/>
                </a:lnTo>
                <a:lnTo>
                  <a:pt x="161374" y="16891"/>
                </a:lnTo>
                <a:lnTo>
                  <a:pt x="150078" y="14986"/>
                </a:lnTo>
                <a:lnTo>
                  <a:pt x="135626" y="6096"/>
                </a:lnTo>
                <a:close/>
              </a:path>
              <a:path w="2188210" h="22860">
                <a:moveTo>
                  <a:pt x="226621" y="6096"/>
                </a:moveTo>
                <a:lnTo>
                  <a:pt x="206876" y="6096"/>
                </a:lnTo>
                <a:lnTo>
                  <a:pt x="218171" y="7874"/>
                </a:lnTo>
                <a:lnTo>
                  <a:pt x="238793" y="20574"/>
                </a:lnTo>
                <a:lnTo>
                  <a:pt x="252374" y="22860"/>
                </a:lnTo>
                <a:lnTo>
                  <a:pt x="265955" y="20574"/>
                </a:lnTo>
                <a:lnTo>
                  <a:pt x="271919" y="16891"/>
                </a:lnTo>
                <a:lnTo>
                  <a:pt x="252369" y="16891"/>
                </a:lnTo>
                <a:lnTo>
                  <a:pt x="241073" y="14986"/>
                </a:lnTo>
                <a:lnTo>
                  <a:pt x="226621" y="6096"/>
                </a:lnTo>
                <a:close/>
              </a:path>
              <a:path w="2188210" h="22860">
                <a:moveTo>
                  <a:pt x="317617" y="6096"/>
                </a:moveTo>
                <a:lnTo>
                  <a:pt x="297867" y="6096"/>
                </a:lnTo>
                <a:lnTo>
                  <a:pt x="309165" y="7874"/>
                </a:lnTo>
                <a:lnTo>
                  <a:pt x="329789" y="20574"/>
                </a:lnTo>
                <a:lnTo>
                  <a:pt x="343369" y="22860"/>
                </a:lnTo>
                <a:lnTo>
                  <a:pt x="356950" y="20574"/>
                </a:lnTo>
                <a:lnTo>
                  <a:pt x="362914" y="16891"/>
                </a:lnTo>
                <a:lnTo>
                  <a:pt x="343365" y="16891"/>
                </a:lnTo>
                <a:lnTo>
                  <a:pt x="332069" y="14986"/>
                </a:lnTo>
                <a:lnTo>
                  <a:pt x="317617" y="6096"/>
                </a:lnTo>
                <a:close/>
              </a:path>
              <a:path w="2188210" h="22860">
                <a:moveTo>
                  <a:pt x="408612" y="6096"/>
                </a:moveTo>
                <a:lnTo>
                  <a:pt x="388858" y="6096"/>
                </a:lnTo>
                <a:lnTo>
                  <a:pt x="400155" y="8001"/>
                </a:lnTo>
                <a:lnTo>
                  <a:pt x="409473" y="13589"/>
                </a:lnTo>
                <a:lnTo>
                  <a:pt x="420784" y="20574"/>
                </a:lnTo>
                <a:lnTo>
                  <a:pt x="434365" y="22860"/>
                </a:lnTo>
                <a:lnTo>
                  <a:pt x="447946" y="20574"/>
                </a:lnTo>
                <a:lnTo>
                  <a:pt x="453910" y="16891"/>
                </a:lnTo>
                <a:lnTo>
                  <a:pt x="434360" y="16891"/>
                </a:lnTo>
                <a:lnTo>
                  <a:pt x="423064" y="14986"/>
                </a:lnTo>
                <a:lnTo>
                  <a:pt x="408612" y="6096"/>
                </a:lnTo>
                <a:close/>
              </a:path>
              <a:path w="2188210" h="22860">
                <a:moveTo>
                  <a:pt x="499608" y="6096"/>
                </a:moveTo>
                <a:lnTo>
                  <a:pt x="479853" y="6096"/>
                </a:lnTo>
                <a:lnTo>
                  <a:pt x="491150" y="8001"/>
                </a:lnTo>
                <a:lnTo>
                  <a:pt x="500468" y="13589"/>
                </a:lnTo>
                <a:lnTo>
                  <a:pt x="511780" y="20574"/>
                </a:lnTo>
                <a:lnTo>
                  <a:pt x="525359" y="22860"/>
                </a:lnTo>
                <a:lnTo>
                  <a:pt x="538936" y="20574"/>
                </a:lnTo>
                <a:lnTo>
                  <a:pt x="544896" y="16891"/>
                </a:lnTo>
                <a:lnTo>
                  <a:pt x="525357" y="16891"/>
                </a:lnTo>
                <a:lnTo>
                  <a:pt x="514061" y="14986"/>
                </a:lnTo>
                <a:lnTo>
                  <a:pt x="499608" y="6096"/>
                </a:lnTo>
                <a:close/>
              </a:path>
              <a:path w="2188210" h="22860">
                <a:moveTo>
                  <a:pt x="590602" y="6096"/>
                </a:moveTo>
                <a:lnTo>
                  <a:pt x="570850" y="6096"/>
                </a:lnTo>
                <a:lnTo>
                  <a:pt x="582145" y="7874"/>
                </a:lnTo>
                <a:lnTo>
                  <a:pt x="602768" y="20574"/>
                </a:lnTo>
                <a:lnTo>
                  <a:pt x="616348" y="22860"/>
                </a:lnTo>
                <a:lnTo>
                  <a:pt x="629926" y="20574"/>
                </a:lnTo>
                <a:lnTo>
                  <a:pt x="635889" y="16891"/>
                </a:lnTo>
                <a:lnTo>
                  <a:pt x="616353" y="16891"/>
                </a:lnTo>
                <a:lnTo>
                  <a:pt x="605056" y="14986"/>
                </a:lnTo>
                <a:lnTo>
                  <a:pt x="590602" y="6096"/>
                </a:lnTo>
                <a:close/>
              </a:path>
              <a:path w="2188210" h="22860">
                <a:moveTo>
                  <a:pt x="681595" y="6096"/>
                </a:moveTo>
                <a:lnTo>
                  <a:pt x="661846" y="6096"/>
                </a:lnTo>
                <a:lnTo>
                  <a:pt x="673141" y="7874"/>
                </a:lnTo>
                <a:lnTo>
                  <a:pt x="693765" y="20574"/>
                </a:lnTo>
                <a:lnTo>
                  <a:pt x="707348" y="22860"/>
                </a:lnTo>
                <a:lnTo>
                  <a:pt x="720927" y="20574"/>
                </a:lnTo>
                <a:lnTo>
                  <a:pt x="726887" y="16891"/>
                </a:lnTo>
                <a:lnTo>
                  <a:pt x="707343" y="16891"/>
                </a:lnTo>
                <a:lnTo>
                  <a:pt x="696047" y="14986"/>
                </a:lnTo>
                <a:lnTo>
                  <a:pt x="681595" y="6096"/>
                </a:lnTo>
                <a:close/>
              </a:path>
              <a:path w="2188210" h="22860">
                <a:moveTo>
                  <a:pt x="772593" y="6096"/>
                </a:moveTo>
                <a:lnTo>
                  <a:pt x="752846" y="6096"/>
                </a:lnTo>
                <a:lnTo>
                  <a:pt x="764138" y="7874"/>
                </a:lnTo>
                <a:lnTo>
                  <a:pt x="784759" y="20574"/>
                </a:lnTo>
                <a:lnTo>
                  <a:pt x="798339" y="22860"/>
                </a:lnTo>
                <a:lnTo>
                  <a:pt x="811917" y="20574"/>
                </a:lnTo>
                <a:lnTo>
                  <a:pt x="817880" y="16891"/>
                </a:lnTo>
                <a:lnTo>
                  <a:pt x="798336" y="16891"/>
                </a:lnTo>
                <a:lnTo>
                  <a:pt x="787044" y="14986"/>
                </a:lnTo>
                <a:lnTo>
                  <a:pt x="772593" y="6096"/>
                </a:lnTo>
                <a:close/>
              </a:path>
              <a:path w="2188210" h="22860">
                <a:moveTo>
                  <a:pt x="863579" y="6096"/>
                </a:moveTo>
                <a:lnTo>
                  <a:pt x="843832" y="6096"/>
                </a:lnTo>
                <a:lnTo>
                  <a:pt x="855127" y="7874"/>
                </a:lnTo>
                <a:lnTo>
                  <a:pt x="875749" y="20574"/>
                </a:lnTo>
                <a:lnTo>
                  <a:pt x="889330" y="22860"/>
                </a:lnTo>
                <a:lnTo>
                  <a:pt x="902910" y="20574"/>
                </a:lnTo>
                <a:lnTo>
                  <a:pt x="908875" y="16891"/>
                </a:lnTo>
                <a:lnTo>
                  <a:pt x="889325" y="16891"/>
                </a:lnTo>
                <a:lnTo>
                  <a:pt x="878029" y="14986"/>
                </a:lnTo>
                <a:lnTo>
                  <a:pt x="863579" y="6096"/>
                </a:lnTo>
                <a:close/>
              </a:path>
              <a:path w="2188210" h="22860">
                <a:moveTo>
                  <a:pt x="954572" y="6096"/>
                </a:moveTo>
                <a:lnTo>
                  <a:pt x="934823" y="6096"/>
                </a:lnTo>
                <a:lnTo>
                  <a:pt x="946120" y="7874"/>
                </a:lnTo>
                <a:lnTo>
                  <a:pt x="966745" y="20574"/>
                </a:lnTo>
                <a:lnTo>
                  <a:pt x="980325" y="22860"/>
                </a:lnTo>
                <a:lnTo>
                  <a:pt x="993906" y="20574"/>
                </a:lnTo>
                <a:lnTo>
                  <a:pt x="999870" y="16891"/>
                </a:lnTo>
                <a:lnTo>
                  <a:pt x="980320" y="16891"/>
                </a:lnTo>
                <a:lnTo>
                  <a:pt x="969024" y="14986"/>
                </a:lnTo>
                <a:lnTo>
                  <a:pt x="954572" y="6096"/>
                </a:lnTo>
                <a:close/>
              </a:path>
              <a:path w="2188210" h="22860">
                <a:moveTo>
                  <a:pt x="1045567" y="6096"/>
                </a:moveTo>
                <a:lnTo>
                  <a:pt x="1025818" y="6096"/>
                </a:lnTo>
                <a:lnTo>
                  <a:pt x="1037116" y="7874"/>
                </a:lnTo>
                <a:lnTo>
                  <a:pt x="1057740" y="20574"/>
                </a:lnTo>
                <a:lnTo>
                  <a:pt x="1071321" y="22860"/>
                </a:lnTo>
                <a:lnTo>
                  <a:pt x="1084901" y="20574"/>
                </a:lnTo>
                <a:lnTo>
                  <a:pt x="1090866" y="16891"/>
                </a:lnTo>
                <a:lnTo>
                  <a:pt x="1071316" y="16891"/>
                </a:lnTo>
                <a:lnTo>
                  <a:pt x="1060020" y="14986"/>
                </a:lnTo>
                <a:lnTo>
                  <a:pt x="1045567" y="6096"/>
                </a:lnTo>
                <a:close/>
              </a:path>
              <a:path w="2188210" h="22860">
                <a:moveTo>
                  <a:pt x="1136580" y="6096"/>
                </a:moveTo>
                <a:lnTo>
                  <a:pt x="1116804" y="6096"/>
                </a:lnTo>
                <a:lnTo>
                  <a:pt x="1128104" y="8001"/>
                </a:lnTo>
                <a:lnTo>
                  <a:pt x="1137424" y="13589"/>
                </a:lnTo>
                <a:lnTo>
                  <a:pt x="1148737" y="20574"/>
                </a:lnTo>
                <a:lnTo>
                  <a:pt x="1162311" y="22860"/>
                </a:lnTo>
                <a:lnTo>
                  <a:pt x="1175888" y="20574"/>
                </a:lnTo>
                <a:lnTo>
                  <a:pt x="1181857" y="16891"/>
                </a:lnTo>
                <a:lnTo>
                  <a:pt x="1162311" y="16891"/>
                </a:lnTo>
                <a:lnTo>
                  <a:pt x="1151017" y="14986"/>
                </a:lnTo>
                <a:lnTo>
                  <a:pt x="1136580" y="6096"/>
                </a:lnTo>
                <a:close/>
              </a:path>
              <a:path w="2188210" h="22860">
                <a:moveTo>
                  <a:pt x="1227574" y="6096"/>
                </a:moveTo>
                <a:lnTo>
                  <a:pt x="1207800" y="6096"/>
                </a:lnTo>
                <a:lnTo>
                  <a:pt x="1219100" y="7874"/>
                </a:lnTo>
                <a:lnTo>
                  <a:pt x="1239715" y="20574"/>
                </a:lnTo>
                <a:lnTo>
                  <a:pt x="1253288" y="22860"/>
                </a:lnTo>
                <a:lnTo>
                  <a:pt x="1266873" y="20574"/>
                </a:lnTo>
                <a:lnTo>
                  <a:pt x="1272847" y="16891"/>
                </a:lnTo>
                <a:lnTo>
                  <a:pt x="1253307" y="16891"/>
                </a:lnTo>
                <a:lnTo>
                  <a:pt x="1242012" y="14986"/>
                </a:lnTo>
                <a:lnTo>
                  <a:pt x="1227574" y="6096"/>
                </a:lnTo>
                <a:close/>
              </a:path>
              <a:path w="2188210" h="22860">
                <a:moveTo>
                  <a:pt x="1318570" y="6096"/>
                </a:moveTo>
                <a:lnTo>
                  <a:pt x="1298795" y="6096"/>
                </a:lnTo>
                <a:lnTo>
                  <a:pt x="1310095" y="7874"/>
                </a:lnTo>
                <a:lnTo>
                  <a:pt x="1330710" y="20574"/>
                </a:lnTo>
                <a:lnTo>
                  <a:pt x="1344283" y="22860"/>
                </a:lnTo>
                <a:lnTo>
                  <a:pt x="1357868" y="20574"/>
                </a:lnTo>
                <a:lnTo>
                  <a:pt x="1363843" y="16891"/>
                </a:lnTo>
                <a:lnTo>
                  <a:pt x="1344302" y="16891"/>
                </a:lnTo>
                <a:lnTo>
                  <a:pt x="1333008" y="14986"/>
                </a:lnTo>
                <a:lnTo>
                  <a:pt x="1318570" y="6096"/>
                </a:lnTo>
                <a:close/>
              </a:path>
              <a:path w="2188210" h="22860">
                <a:moveTo>
                  <a:pt x="1409556" y="6096"/>
                </a:moveTo>
                <a:lnTo>
                  <a:pt x="1389794" y="6096"/>
                </a:lnTo>
                <a:lnTo>
                  <a:pt x="1401091" y="8001"/>
                </a:lnTo>
                <a:lnTo>
                  <a:pt x="1410398" y="13589"/>
                </a:lnTo>
                <a:lnTo>
                  <a:pt x="1421713" y="20574"/>
                </a:lnTo>
                <a:lnTo>
                  <a:pt x="1435290" y="22860"/>
                </a:lnTo>
                <a:lnTo>
                  <a:pt x="1448867" y="20574"/>
                </a:lnTo>
                <a:lnTo>
                  <a:pt x="1454833" y="16891"/>
                </a:lnTo>
                <a:lnTo>
                  <a:pt x="1435285" y="16891"/>
                </a:lnTo>
                <a:lnTo>
                  <a:pt x="1423991" y="14986"/>
                </a:lnTo>
                <a:lnTo>
                  <a:pt x="1409556" y="6096"/>
                </a:lnTo>
                <a:close/>
              </a:path>
              <a:path w="2188210" h="22860">
                <a:moveTo>
                  <a:pt x="1500533" y="6096"/>
                </a:moveTo>
                <a:lnTo>
                  <a:pt x="1480786" y="6096"/>
                </a:lnTo>
                <a:lnTo>
                  <a:pt x="1492077" y="8001"/>
                </a:lnTo>
                <a:lnTo>
                  <a:pt x="1501381" y="13589"/>
                </a:lnTo>
                <a:lnTo>
                  <a:pt x="1512696" y="20574"/>
                </a:lnTo>
                <a:lnTo>
                  <a:pt x="1526274" y="22860"/>
                </a:lnTo>
                <a:lnTo>
                  <a:pt x="1539855" y="20574"/>
                </a:lnTo>
                <a:lnTo>
                  <a:pt x="1545825" y="16891"/>
                </a:lnTo>
                <a:lnTo>
                  <a:pt x="1526284" y="16891"/>
                </a:lnTo>
                <a:lnTo>
                  <a:pt x="1514986" y="14986"/>
                </a:lnTo>
                <a:lnTo>
                  <a:pt x="1500533" y="6096"/>
                </a:lnTo>
                <a:close/>
              </a:path>
              <a:path w="2188210" h="22860">
                <a:moveTo>
                  <a:pt x="1591531" y="6096"/>
                </a:moveTo>
                <a:lnTo>
                  <a:pt x="1571782" y="6096"/>
                </a:lnTo>
                <a:lnTo>
                  <a:pt x="1583073" y="8001"/>
                </a:lnTo>
                <a:lnTo>
                  <a:pt x="1592376" y="13589"/>
                </a:lnTo>
                <a:lnTo>
                  <a:pt x="1603697" y="20574"/>
                </a:lnTo>
                <a:lnTo>
                  <a:pt x="1617284" y="22860"/>
                </a:lnTo>
                <a:lnTo>
                  <a:pt x="1630867" y="20574"/>
                </a:lnTo>
                <a:lnTo>
                  <a:pt x="1636828" y="16891"/>
                </a:lnTo>
                <a:lnTo>
                  <a:pt x="1617279" y="16891"/>
                </a:lnTo>
                <a:lnTo>
                  <a:pt x="1605982" y="14986"/>
                </a:lnTo>
                <a:lnTo>
                  <a:pt x="1591531" y="6096"/>
                </a:lnTo>
                <a:close/>
              </a:path>
              <a:path w="2188210" h="22860">
                <a:moveTo>
                  <a:pt x="1682526" y="6096"/>
                </a:moveTo>
                <a:lnTo>
                  <a:pt x="1662772" y="6096"/>
                </a:lnTo>
                <a:lnTo>
                  <a:pt x="1674066" y="7874"/>
                </a:lnTo>
                <a:lnTo>
                  <a:pt x="1694692" y="20574"/>
                </a:lnTo>
                <a:lnTo>
                  <a:pt x="1708280" y="22860"/>
                </a:lnTo>
                <a:lnTo>
                  <a:pt x="1721862" y="20574"/>
                </a:lnTo>
                <a:lnTo>
                  <a:pt x="1727824" y="16891"/>
                </a:lnTo>
                <a:lnTo>
                  <a:pt x="1708280" y="16891"/>
                </a:lnTo>
                <a:lnTo>
                  <a:pt x="1696983" y="14986"/>
                </a:lnTo>
                <a:lnTo>
                  <a:pt x="1682526" y="6096"/>
                </a:lnTo>
                <a:close/>
              </a:path>
              <a:path w="2188210" h="22860">
                <a:moveTo>
                  <a:pt x="1773517" y="6096"/>
                </a:moveTo>
                <a:lnTo>
                  <a:pt x="1753768" y="6096"/>
                </a:lnTo>
                <a:lnTo>
                  <a:pt x="1765062" y="8001"/>
                </a:lnTo>
                <a:lnTo>
                  <a:pt x="1774367" y="13589"/>
                </a:lnTo>
                <a:lnTo>
                  <a:pt x="1785688" y="20574"/>
                </a:lnTo>
                <a:lnTo>
                  <a:pt x="1799275" y="22860"/>
                </a:lnTo>
                <a:lnTo>
                  <a:pt x="1812858" y="20574"/>
                </a:lnTo>
                <a:lnTo>
                  <a:pt x="1818819" y="16891"/>
                </a:lnTo>
                <a:lnTo>
                  <a:pt x="1799275" y="16891"/>
                </a:lnTo>
                <a:lnTo>
                  <a:pt x="1787978" y="14986"/>
                </a:lnTo>
                <a:lnTo>
                  <a:pt x="1773517" y="6096"/>
                </a:lnTo>
                <a:close/>
              </a:path>
              <a:path w="2188210" h="22860">
                <a:moveTo>
                  <a:pt x="1864512" y="6096"/>
                </a:moveTo>
                <a:lnTo>
                  <a:pt x="1844763" y="6096"/>
                </a:lnTo>
                <a:lnTo>
                  <a:pt x="1856057" y="8001"/>
                </a:lnTo>
                <a:lnTo>
                  <a:pt x="1865363" y="13589"/>
                </a:lnTo>
                <a:lnTo>
                  <a:pt x="1876681" y="20574"/>
                </a:lnTo>
                <a:lnTo>
                  <a:pt x="1890264" y="22860"/>
                </a:lnTo>
                <a:lnTo>
                  <a:pt x="1903843" y="20574"/>
                </a:lnTo>
                <a:lnTo>
                  <a:pt x="1909803" y="16891"/>
                </a:lnTo>
                <a:lnTo>
                  <a:pt x="1890264" y="16891"/>
                </a:lnTo>
                <a:lnTo>
                  <a:pt x="1878972" y="14986"/>
                </a:lnTo>
                <a:lnTo>
                  <a:pt x="1864512" y="6096"/>
                </a:lnTo>
                <a:close/>
              </a:path>
              <a:path w="2188210" h="22860">
                <a:moveTo>
                  <a:pt x="1955512" y="6096"/>
                </a:moveTo>
                <a:lnTo>
                  <a:pt x="1935753" y="6096"/>
                </a:lnTo>
                <a:lnTo>
                  <a:pt x="1947051" y="8001"/>
                </a:lnTo>
                <a:lnTo>
                  <a:pt x="1956358" y="13589"/>
                </a:lnTo>
                <a:lnTo>
                  <a:pt x="1967677" y="20574"/>
                </a:lnTo>
                <a:lnTo>
                  <a:pt x="1981260" y="22860"/>
                </a:lnTo>
                <a:lnTo>
                  <a:pt x="1994838" y="20574"/>
                </a:lnTo>
                <a:lnTo>
                  <a:pt x="2000799" y="16891"/>
                </a:lnTo>
                <a:lnTo>
                  <a:pt x="1981260" y="16891"/>
                </a:lnTo>
                <a:lnTo>
                  <a:pt x="1969964" y="14986"/>
                </a:lnTo>
                <a:lnTo>
                  <a:pt x="1955512" y="6096"/>
                </a:lnTo>
                <a:close/>
              </a:path>
              <a:path w="2188210" h="22860">
                <a:moveTo>
                  <a:pt x="2046507" y="6096"/>
                </a:moveTo>
                <a:lnTo>
                  <a:pt x="2026748" y="6096"/>
                </a:lnTo>
                <a:lnTo>
                  <a:pt x="2038046" y="8001"/>
                </a:lnTo>
                <a:lnTo>
                  <a:pt x="2047354" y="13589"/>
                </a:lnTo>
                <a:lnTo>
                  <a:pt x="2052588" y="17653"/>
                </a:lnTo>
                <a:lnTo>
                  <a:pt x="2058671" y="20574"/>
                </a:lnTo>
                <a:lnTo>
                  <a:pt x="2065319" y="22352"/>
                </a:lnTo>
                <a:lnTo>
                  <a:pt x="2072246" y="22860"/>
                </a:lnTo>
                <a:lnTo>
                  <a:pt x="2079180" y="22352"/>
                </a:lnTo>
                <a:lnTo>
                  <a:pt x="2085830" y="20574"/>
                </a:lnTo>
                <a:lnTo>
                  <a:pt x="2091911" y="17653"/>
                </a:lnTo>
                <a:lnTo>
                  <a:pt x="2092891" y="16891"/>
                </a:lnTo>
                <a:lnTo>
                  <a:pt x="2072255" y="16891"/>
                </a:lnTo>
                <a:lnTo>
                  <a:pt x="2060959" y="14986"/>
                </a:lnTo>
                <a:lnTo>
                  <a:pt x="2046507" y="6096"/>
                </a:lnTo>
                <a:close/>
              </a:path>
              <a:path w="2188210" h="22860">
                <a:moveTo>
                  <a:pt x="2137503" y="6096"/>
                </a:moveTo>
                <a:lnTo>
                  <a:pt x="2117744" y="6096"/>
                </a:lnTo>
                <a:lnTo>
                  <a:pt x="2129042" y="8001"/>
                </a:lnTo>
                <a:lnTo>
                  <a:pt x="2138349" y="13589"/>
                </a:lnTo>
                <a:lnTo>
                  <a:pt x="2149664" y="20574"/>
                </a:lnTo>
                <a:lnTo>
                  <a:pt x="2163241" y="22860"/>
                </a:lnTo>
                <a:lnTo>
                  <a:pt x="2176818" y="20574"/>
                </a:lnTo>
                <a:lnTo>
                  <a:pt x="2182784" y="16891"/>
                </a:lnTo>
                <a:lnTo>
                  <a:pt x="2163241" y="16891"/>
                </a:lnTo>
                <a:lnTo>
                  <a:pt x="2151947" y="14986"/>
                </a:lnTo>
                <a:lnTo>
                  <a:pt x="2137503" y="6096"/>
                </a:lnTo>
                <a:close/>
              </a:path>
              <a:path w="2188210" h="22860">
                <a:moveTo>
                  <a:pt x="115881" y="0"/>
                </a:moveTo>
                <a:lnTo>
                  <a:pt x="102304" y="2286"/>
                </a:lnTo>
                <a:lnTo>
                  <a:pt x="81677" y="14986"/>
                </a:lnTo>
                <a:lnTo>
                  <a:pt x="70380" y="16891"/>
                </a:lnTo>
                <a:lnTo>
                  <a:pt x="89925" y="16891"/>
                </a:lnTo>
                <a:lnTo>
                  <a:pt x="95275" y="13589"/>
                </a:lnTo>
                <a:lnTo>
                  <a:pt x="104579" y="8001"/>
                </a:lnTo>
                <a:lnTo>
                  <a:pt x="115871" y="6096"/>
                </a:lnTo>
                <a:lnTo>
                  <a:pt x="135626" y="6096"/>
                </a:lnTo>
                <a:lnTo>
                  <a:pt x="129457" y="2286"/>
                </a:lnTo>
                <a:lnTo>
                  <a:pt x="115881" y="0"/>
                </a:lnTo>
                <a:close/>
              </a:path>
              <a:path w="2188210" h="22860">
                <a:moveTo>
                  <a:pt x="206876" y="0"/>
                </a:moveTo>
                <a:lnTo>
                  <a:pt x="193300" y="2286"/>
                </a:lnTo>
                <a:lnTo>
                  <a:pt x="172672" y="14986"/>
                </a:lnTo>
                <a:lnTo>
                  <a:pt x="161374" y="16891"/>
                </a:lnTo>
                <a:lnTo>
                  <a:pt x="180923" y="16891"/>
                </a:lnTo>
                <a:lnTo>
                  <a:pt x="186270" y="13589"/>
                </a:lnTo>
                <a:lnTo>
                  <a:pt x="195581" y="8001"/>
                </a:lnTo>
                <a:lnTo>
                  <a:pt x="206876" y="6096"/>
                </a:lnTo>
                <a:lnTo>
                  <a:pt x="226621" y="6096"/>
                </a:lnTo>
                <a:lnTo>
                  <a:pt x="220452" y="2286"/>
                </a:lnTo>
                <a:lnTo>
                  <a:pt x="206876" y="0"/>
                </a:lnTo>
                <a:close/>
              </a:path>
              <a:path w="2188210" h="22860">
                <a:moveTo>
                  <a:pt x="297872" y="0"/>
                </a:moveTo>
                <a:lnTo>
                  <a:pt x="284295" y="2286"/>
                </a:lnTo>
                <a:lnTo>
                  <a:pt x="263668" y="14986"/>
                </a:lnTo>
                <a:lnTo>
                  <a:pt x="252369" y="16891"/>
                </a:lnTo>
                <a:lnTo>
                  <a:pt x="271919" y="16891"/>
                </a:lnTo>
                <a:lnTo>
                  <a:pt x="286572" y="7874"/>
                </a:lnTo>
                <a:lnTo>
                  <a:pt x="297867" y="6096"/>
                </a:lnTo>
                <a:lnTo>
                  <a:pt x="317617" y="6096"/>
                </a:lnTo>
                <a:lnTo>
                  <a:pt x="311448" y="2286"/>
                </a:lnTo>
                <a:lnTo>
                  <a:pt x="297872" y="0"/>
                </a:lnTo>
                <a:close/>
              </a:path>
              <a:path w="2188210" h="22860">
                <a:moveTo>
                  <a:pt x="388867" y="0"/>
                </a:moveTo>
                <a:lnTo>
                  <a:pt x="375291" y="2286"/>
                </a:lnTo>
                <a:lnTo>
                  <a:pt x="354663" y="14986"/>
                </a:lnTo>
                <a:lnTo>
                  <a:pt x="343365" y="16891"/>
                </a:lnTo>
                <a:lnTo>
                  <a:pt x="362914" y="16891"/>
                </a:lnTo>
                <a:lnTo>
                  <a:pt x="368261" y="13589"/>
                </a:lnTo>
                <a:lnTo>
                  <a:pt x="377565" y="8001"/>
                </a:lnTo>
                <a:lnTo>
                  <a:pt x="388858" y="6096"/>
                </a:lnTo>
                <a:lnTo>
                  <a:pt x="408612" y="6096"/>
                </a:lnTo>
                <a:lnTo>
                  <a:pt x="402443" y="2286"/>
                </a:lnTo>
                <a:lnTo>
                  <a:pt x="388867" y="0"/>
                </a:lnTo>
                <a:close/>
              </a:path>
              <a:path w="2188210" h="22860">
                <a:moveTo>
                  <a:pt x="479863" y="0"/>
                </a:moveTo>
                <a:lnTo>
                  <a:pt x="466286" y="2286"/>
                </a:lnTo>
                <a:lnTo>
                  <a:pt x="445659" y="14986"/>
                </a:lnTo>
                <a:lnTo>
                  <a:pt x="434360" y="16891"/>
                </a:lnTo>
                <a:lnTo>
                  <a:pt x="453910" y="16891"/>
                </a:lnTo>
                <a:lnTo>
                  <a:pt x="459257" y="13589"/>
                </a:lnTo>
                <a:lnTo>
                  <a:pt x="468561" y="8001"/>
                </a:lnTo>
                <a:lnTo>
                  <a:pt x="479853" y="6096"/>
                </a:lnTo>
                <a:lnTo>
                  <a:pt x="499608" y="6096"/>
                </a:lnTo>
                <a:lnTo>
                  <a:pt x="493439" y="2286"/>
                </a:lnTo>
                <a:lnTo>
                  <a:pt x="479863" y="0"/>
                </a:lnTo>
                <a:close/>
              </a:path>
              <a:path w="2188210" h="22860">
                <a:moveTo>
                  <a:pt x="570850" y="0"/>
                </a:moveTo>
                <a:lnTo>
                  <a:pt x="557266" y="2286"/>
                </a:lnTo>
                <a:lnTo>
                  <a:pt x="536649" y="14986"/>
                </a:lnTo>
                <a:lnTo>
                  <a:pt x="525357" y="16891"/>
                </a:lnTo>
                <a:lnTo>
                  <a:pt x="544896" y="16891"/>
                </a:lnTo>
                <a:lnTo>
                  <a:pt x="550240" y="13589"/>
                </a:lnTo>
                <a:lnTo>
                  <a:pt x="559553" y="8001"/>
                </a:lnTo>
                <a:lnTo>
                  <a:pt x="570850" y="6096"/>
                </a:lnTo>
                <a:lnTo>
                  <a:pt x="590602" y="6096"/>
                </a:lnTo>
                <a:lnTo>
                  <a:pt x="584432" y="2286"/>
                </a:lnTo>
                <a:lnTo>
                  <a:pt x="570850" y="0"/>
                </a:lnTo>
                <a:close/>
              </a:path>
              <a:path w="2188210" h="22860">
                <a:moveTo>
                  <a:pt x="661841" y="0"/>
                </a:moveTo>
                <a:lnTo>
                  <a:pt x="648259" y="2286"/>
                </a:lnTo>
                <a:lnTo>
                  <a:pt x="627644" y="14986"/>
                </a:lnTo>
                <a:lnTo>
                  <a:pt x="616353" y="16891"/>
                </a:lnTo>
                <a:lnTo>
                  <a:pt x="635889" y="16891"/>
                </a:lnTo>
                <a:lnTo>
                  <a:pt x="641235" y="13589"/>
                </a:lnTo>
                <a:lnTo>
                  <a:pt x="650548" y="8001"/>
                </a:lnTo>
                <a:lnTo>
                  <a:pt x="661846" y="6096"/>
                </a:lnTo>
                <a:lnTo>
                  <a:pt x="681595" y="6096"/>
                </a:lnTo>
                <a:lnTo>
                  <a:pt x="675422" y="2286"/>
                </a:lnTo>
                <a:lnTo>
                  <a:pt x="661841" y="0"/>
                </a:lnTo>
                <a:close/>
              </a:path>
              <a:path w="2188210" h="22860">
                <a:moveTo>
                  <a:pt x="752841" y="0"/>
                </a:moveTo>
                <a:lnTo>
                  <a:pt x="739257" y="2286"/>
                </a:lnTo>
                <a:lnTo>
                  <a:pt x="718638" y="14986"/>
                </a:lnTo>
                <a:lnTo>
                  <a:pt x="707343" y="16891"/>
                </a:lnTo>
                <a:lnTo>
                  <a:pt x="726887" y="16891"/>
                </a:lnTo>
                <a:lnTo>
                  <a:pt x="732231" y="13589"/>
                </a:lnTo>
                <a:lnTo>
                  <a:pt x="741549" y="8001"/>
                </a:lnTo>
                <a:lnTo>
                  <a:pt x="752846" y="6096"/>
                </a:lnTo>
                <a:lnTo>
                  <a:pt x="772593" y="6096"/>
                </a:lnTo>
                <a:lnTo>
                  <a:pt x="766423" y="2286"/>
                </a:lnTo>
                <a:lnTo>
                  <a:pt x="752841" y="0"/>
                </a:lnTo>
                <a:close/>
              </a:path>
              <a:path w="2188210" h="22860">
                <a:moveTo>
                  <a:pt x="843837" y="0"/>
                </a:moveTo>
                <a:lnTo>
                  <a:pt x="830257" y="2286"/>
                </a:lnTo>
                <a:lnTo>
                  <a:pt x="809630" y="14986"/>
                </a:lnTo>
                <a:lnTo>
                  <a:pt x="798336" y="16891"/>
                </a:lnTo>
                <a:lnTo>
                  <a:pt x="817880" y="16891"/>
                </a:lnTo>
                <a:lnTo>
                  <a:pt x="823226" y="13589"/>
                </a:lnTo>
                <a:lnTo>
                  <a:pt x="832537" y="8001"/>
                </a:lnTo>
                <a:lnTo>
                  <a:pt x="843832" y="6096"/>
                </a:lnTo>
                <a:lnTo>
                  <a:pt x="863579" y="6096"/>
                </a:lnTo>
                <a:lnTo>
                  <a:pt x="857414" y="2286"/>
                </a:lnTo>
                <a:lnTo>
                  <a:pt x="843837" y="0"/>
                </a:lnTo>
                <a:close/>
              </a:path>
              <a:path w="2188210" h="22860">
                <a:moveTo>
                  <a:pt x="934823" y="0"/>
                </a:moveTo>
                <a:lnTo>
                  <a:pt x="921246" y="2286"/>
                </a:lnTo>
                <a:lnTo>
                  <a:pt x="900623" y="14986"/>
                </a:lnTo>
                <a:lnTo>
                  <a:pt x="889325" y="16891"/>
                </a:lnTo>
                <a:lnTo>
                  <a:pt x="908875" y="16891"/>
                </a:lnTo>
                <a:lnTo>
                  <a:pt x="923527" y="7874"/>
                </a:lnTo>
                <a:lnTo>
                  <a:pt x="934823" y="6096"/>
                </a:lnTo>
                <a:lnTo>
                  <a:pt x="954572" y="6096"/>
                </a:lnTo>
                <a:lnTo>
                  <a:pt x="948402" y="2286"/>
                </a:lnTo>
                <a:lnTo>
                  <a:pt x="934823" y="0"/>
                </a:lnTo>
                <a:close/>
              </a:path>
              <a:path w="2188210" h="22860">
                <a:moveTo>
                  <a:pt x="1025818" y="0"/>
                </a:moveTo>
                <a:lnTo>
                  <a:pt x="1012241" y="2286"/>
                </a:lnTo>
                <a:lnTo>
                  <a:pt x="991619" y="14986"/>
                </a:lnTo>
                <a:lnTo>
                  <a:pt x="980320" y="16891"/>
                </a:lnTo>
                <a:lnTo>
                  <a:pt x="999870" y="16891"/>
                </a:lnTo>
                <a:lnTo>
                  <a:pt x="1014523" y="7874"/>
                </a:lnTo>
                <a:lnTo>
                  <a:pt x="1025818" y="6096"/>
                </a:lnTo>
                <a:lnTo>
                  <a:pt x="1045567" y="6096"/>
                </a:lnTo>
                <a:lnTo>
                  <a:pt x="1039397" y="2286"/>
                </a:lnTo>
                <a:lnTo>
                  <a:pt x="1025818" y="0"/>
                </a:lnTo>
                <a:close/>
              </a:path>
              <a:path w="2188210" h="22860">
                <a:moveTo>
                  <a:pt x="1116811" y="0"/>
                </a:moveTo>
                <a:lnTo>
                  <a:pt x="1103235" y="2286"/>
                </a:lnTo>
                <a:lnTo>
                  <a:pt x="1082614" y="14986"/>
                </a:lnTo>
                <a:lnTo>
                  <a:pt x="1071316" y="16891"/>
                </a:lnTo>
                <a:lnTo>
                  <a:pt x="1090866" y="16891"/>
                </a:lnTo>
                <a:lnTo>
                  <a:pt x="1096213" y="13589"/>
                </a:lnTo>
                <a:lnTo>
                  <a:pt x="1105511" y="8001"/>
                </a:lnTo>
                <a:lnTo>
                  <a:pt x="1116804" y="6096"/>
                </a:lnTo>
                <a:lnTo>
                  <a:pt x="1136580" y="6096"/>
                </a:lnTo>
                <a:lnTo>
                  <a:pt x="1130393" y="2286"/>
                </a:lnTo>
                <a:lnTo>
                  <a:pt x="1116811" y="0"/>
                </a:lnTo>
                <a:close/>
              </a:path>
              <a:path w="2188210" h="22860">
                <a:moveTo>
                  <a:pt x="1207800" y="0"/>
                </a:moveTo>
                <a:lnTo>
                  <a:pt x="1194220" y="2286"/>
                </a:lnTo>
                <a:lnTo>
                  <a:pt x="1173608" y="14986"/>
                </a:lnTo>
                <a:lnTo>
                  <a:pt x="1162311" y="16891"/>
                </a:lnTo>
                <a:lnTo>
                  <a:pt x="1181857" y="16891"/>
                </a:lnTo>
                <a:lnTo>
                  <a:pt x="1187208" y="13589"/>
                </a:lnTo>
                <a:lnTo>
                  <a:pt x="1196507" y="8001"/>
                </a:lnTo>
                <a:lnTo>
                  <a:pt x="1207800" y="6096"/>
                </a:lnTo>
                <a:lnTo>
                  <a:pt x="1227574" y="6096"/>
                </a:lnTo>
                <a:lnTo>
                  <a:pt x="1221386" y="2286"/>
                </a:lnTo>
                <a:lnTo>
                  <a:pt x="1207800" y="0"/>
                </a:lnTo>
                <a:close/>
              </a:path>
              <a:path w="2188210" h="22860">
                <a:moveTo>
                  <a:pt x="1298795" y="0"/>
                </a:moveTo>
                <a:lnTo>
                  <a:pt x="1285215" y="2286"/>
                </a:lnTo>
                <a:lnTo>
                  <a:pt x="1264604" y="14986"/>
                </a:lnTo>
                <a:lnTo>
                  <a:pt x="1253307" y="16891"/>
                </a:lnTo>
                <a:lnTo>
                  <a:pt x="1272847" y="16891"/>
                </a:lnTo>
                <a:lnTo>
                  <a:pt x="1278204" y="13589"/>
                </a:lnTo>
                <a:lnTo>
                  <a:pt x="1287502" y="8001"/>
                </a:lnTo>
                <a:lnTo>
                  <a:pt x="1298795" y="6096"/>
                </a:lnTo>
                <a:lnTo>
                  <a:pt x="1318570" y="6096"/>
                </a:lnTo>
                <a:lnTo>
                  <a:pt x="1312382" y="2286"/>
                </a:lnTo>
                <a:lnTo>
                  <a:pt x="1298795" y="0"/>
                </a:lnTo>
                <a:close/>
              </a:path>
              <a:path w="2188210" h="22860">
                <a:moveTo>
                  <a:pt x="1389794" y="0"/>
                </a:moveTo>
                <a:lnTo>
                  <a:pt x="1376220" y="2286"/>
                </a:lnTo>
                <a:lnTo>
                  <a:pt x="1355599" y="14986"/>
                </a:lnTo>
                <a:lnTo>
                  <a:pt x="1344302" y="16891"/>
                </a:lnTo>
                <a:lnTo>
                  <a:pt x="1363843" y="16891"/>
                </a:lnTo>
                <a:lnTo>
                  <a:pt x="1369199" y="13589"/>
                </a:lnTo>
                <a:lnTo>
                  <a:pt x="1378499" y="8001"/>
                </a:lnTo>
                <a:lnTo>
                  <a:pt x="1389794" y="6096"/>
                </a:lnTo>
                <a:lnTo>
                  <a:pt x="1409556" y="6096"/>
                </a:lnTo>
                <a:lnTo>
                  <a:pt x="1403370" y="2286"/>
                </a:lnTo>
                <a:lnTo>
                  <a:pt x="1389794" y="0"/>
                </a:lnTo>
                <a:close/>
              </a:path>
              <a:path w="2188210" h="22860">
                <a:moveTo>
                  <a:pt x="1480786" y="0"/>
                </a:moveTo>
                <a:lnTo>
                  <a:pt x="1467206" y="2286"/>
                </a:lnTo>
                <a:lnTo>
                  <a:pt x="1446582" y="14986"/>
                </a:lnTo>
                <a:lnTo>
                  <a:pt x="1435285" y="16891"/>
                </a:lnTo>
                <a:lnTo>
                  <a:pt x="1454833" y="16891"/>
                </a:lnTo>
                <a:lnTo>
                  <a:pt x="1460182" y="13589"/>
                </a:lnTo>
                <a:lnTo>
                  <a:pt x="1469493" y="8001"/>
                </a:lnTo>
                <a:lnTo>
                  <a:pt x="1480786" y="6096"/>
                </a:lnTo>
                <a:lnTo>
                  <a:pt x="1500533" y="6096"/>
                </a:lnTo>
                <a:lnTo>
                  <a:pt x="1494364" y="2286"/>
                </a:lnTo>
                <a:lnTo>
                  <a:pt x="1480786" y="0"/>
                </a:lnTo>
                <a:close/>
              </a:path>
              <a:path w="2188210" h="22860">
                <a:moveTo>
                  <a:pt x="1571786" y="0"/>
                </a:moveTo>
                <a:lnTo>
                  <a:pt x="1558203" y="2286"/>
                </a:lnTo>
                <a:lnTo>
                  <a:pt x="1537579" y="14986"/>
                </a:lnTo>
                <a:lnTo>
                  <a:pt x="1526284" y="16891"/>
                </a:lnTo>
                <a:lnTo>
                  <a:pt x="1545825" y="16891"/>
                </a:lnTo>
                <a:lnTo>
                  <a:pt x="1551178" y="13589"/>
                </a:lnTo>
                <a:lnTo>
                  <a:pt x="1560488" y="8001"/>
                </a:lnTo>
                <a:lnTo>
                  <a:pt x="1571782" y="6096"/>
                </a:lnTo>
                <a:lnTo>
                  <a:pt x="1591531" y="6096"/>
                </a:lnTo>
                <a:lnTo>
                  <a:pt x="1585365" y="2286"/>
                </a:lnTo>
                <a:lnTo>
                  <a:pt x="1571786" y="0"/>
                </a:lnTo>
                <a:close/>
              </a:path>
              <a:path w="2188210" h="22860">
                <a:moveTo>
                  <a:pt x="1662782" y="0"/>
                </a:moveTo>
                <a:lnTo>
                  <a:pt x="1649199" y="2286"/>
                </a:lnTo>
                <a:lnTo>
                  <a:pt x="1628575" y="14986"/>
                </a:lnTo>
                <a:lnTo>
                  <a:pt x="1617279" y="16891"/>
                </a:lnTo>
                <a:lnTo>
                  <a:pt x="1636828" y="16891"/>
                </a:lnTo>
                <a:lnTo>
                  <a:pt x="1651479" y="7874"/>
                </a:lnTo>
                <a:lnTo>
                  <a:pt x="1662772" y="6096"/>
                </a:lnTo>
                <a:lnTo>
                  <a:pt x="1682526" y="6096"/>
                </a:lnTo>
                <a:lnTo>
                  <a:pt x="1676360" y="2286"/>
                </a:lnTo>
                <a:lnTo>
                  <a:pt x="1662782" y="0"/>
                </a:lnTo>
                <a:close/>
              </a:path>
              <a:path w="2188210" h="22860">
                <a:moveTo>
                  <a:pt x="1753768" y="0"/>
                </a:moveTo>
                <a:lnTo>
                  <a:pt x="1740191" y="2286"/>
                </a:lnTo>
                <a:lnTo>
                  <a:pt x="1719572" y="14986"/>
                </a:lnTo>
                <a:lnTo>
                  <a:pt x="1708280" y="16891"/>
                </a:lnTo>
                <a:lnTo>
                  <a:pt x="1727824" y="16891"/>
                </a:lnTo>
                <a:lnTo>
                  <a:pt x="1733169" y="13589"/>
                </a:lnTo>
                <a:lnTo>
                  <a:pt x="1742474" y="8001"/>
                </a:lnTo>
                <a:lnTo>
                  <a:pt x="1753768" y="6096"/>
                </a:lnTo>
                <a:lnTo>
                  <a:pt x="1773517" y="6096"/>
                </a:lnTo>
                <a:lnTo>
                  <a:pt x="1767345" y="2286"/>
                </a:lnTo>
                <a:lnTo>
                  <a:pt x="1753768" y="0"/>
                </a:lnTo>
                <a:close/>
              </a:path>
              <a:path w="2188210" h="22860">
                <a:moveTo>
                  <a:pt x="1844763" y="0"/>
                </a:moveTo>
                <a:lnTo>
                  <a:pt x="1831186" y="2286"/>
                </a:lnTo>
                <a:lnTo>
                  <a:pt x="1810567" y="14986"/>
                </a:lnTo>
                <a:lnTo>
                  <a:pt x="1799275" y="16891"/>
                </a:lnTo>
                <a:lnTo>
                  <a:pt x="1818819" y="16891"/>
                </a:lnTo>
                <a:lnTo>
                  <a:pt x="1824164" y="13589"/>
                </a:lnTo>
                <a:lnTo>
                  <a:pt x="1833470" y="8001"/>
                </a:lnTo>
                <a:lnTo>
                  <a:pt x="1844763" y="6096"/>
                </a:lnTo>
                <a:lnTo>
                  <a:pt x="1864512" y="6096"/>
                </a:lnTo>
                <a:lnTo>
                  <a:pt x="1858340" y="2286"/>
                </a:lnTo>
                <a:lnTo>
                  <a:pt x="1844763" y="0"/>
                </a:lnTo>
                <a:close/>
              </a:path>
              <a:path w="2188210" h="22860">
                <a:moveTo>
                  <a:pt x="1935762" y="0"/>
                </a:moveTo>
                <a:lnTo>
                  <a:pt x="1922175" y="2286"/>
                </a:lnTo>
                <a:lnTo>
                  <a:pt x="1901552" y="14986"/>
                </a:lnTo>
                <a:lnTo>
                  <a:pt x="1890264" y="16891"/>
                </a:lnTo>
                <a:lnTo>
                  <a:pt x="1909803" y="16891"/>
                </a:lnTo>
                <a:lnTo>
                  <a:pt x="1915147" y="13589"/>
                </a:lnTo>
                <a:lnTo>
                  <a:pt x="1924454" y="8001"/>
                </a:lnTo>
                <a:lnTo>
                  <a:pt x="1935753" y="6096"/>
                </a:lnTo>
                <a:lnTo>
                  <a:pt x="1955512" y="6096"/>
                </a:lnTo>
                <a:lnTo>
                  <a:pt x="1949345" y="2286"/>
                </a:lnTo>
                <a:lnTo>
                  <a:pt x="1935762" y="0"/>
                </a:lnTo>
                <a:close/>
              </a:path>
              <a:path w="2188210" h="22860">
                <a:moveTo>
                  <a:pt x="2026758" y="0"/>
                </a:moveTo>
                <a:lnTo>
                  <a:pt x="2013170" y="2286"/>
                </a:lnTo>
                <a:lnTo>
                  <a:pt x="1992551" y="14986"/>
                </a:lnTo>
                <a:lnTo>
                  <a:pt x="1981260" y="16891"/>
                </a:lnTo>
                <a:lnTo>
                  <a:pt x="2000799" y="16891"/>
                </a:lnTo>
                <a:lnTo>
                  <a:pt x="2006142" y="13589"/>
                </a:lnTo>
                <a:lnTo>
                  <a:pt x="2015450" y="8001"/>
                </a:lnTo>
                <a:lnTo>
                  <a:pt x="2026748" y="6096"/>
                </a:lnTo>
                <a:lnTo>
                  <a:pt x="2046507" y="6096"/>
                </a:lnTo>
                <a:lnTo>
                  <a:pt x="2040340" y="2286"/>
                </a:lnTo>
                <a:lnTo>
                  <a:pt x="2026758" y="0"/>
                </a:lnTo>
                <a:close/>
              </a:path>
              <a:path w="2188210" h="22860">
                <a:moveTo>
                  <a:pt x="2117753" y="0"/>
                </a:moveTo>
                <a:lnTo>
                  <a:pt x="2104166" y="2286"/>
                </a:lnTo>
                <a:lnTo>
                  <a:pt x="2083547" y="14986"/>
                </a:lnTo>
                <a:lnTo>
                  <a:pt x="2072255" y="16891"/>
                </a:lnTo>
                <a:lnTo>
                  <a:pt x="2092891" y="16891"/>
                </a:lnTo>
                <a:lnTo>
                  <a:pt x="2097138" y="13589"/>
                </a:lnTo>
                <a:lnTo>
                  <a:pt x="2106445" y="8001"/>
                </a:lnTo>
                <a:lnTo>
                  <a:pt x="2117744" y="6096"/>
                </a:lnTo>
                <a:lnTo>
                  <a:pt x="2137503" y="6096"/>
                </a:lnTo>
                <a:lnTo>
                  <a:pt x="2131336" y="2286"/>
                </a:lnTo>
                <a:lnTo>
                  <a:pt x="2117753" y="0"/>
                </a:lnTo>
                <a:close/>
              </a:path>
              <a:path w="2188210" h="22860">
                <a:moveTo>
                  <a:pt x="2183841" y="9271"/>
                </a:moveTo>
                <a:lnTo>
                  <a:pt x="2174535" y="14986"/>
                </a:lnTo>
                <a:lnTo>
                  <a:pt x="2163241" y="16891"/>
                </a:lnTo>
                <a:lnTo>
                  <a:pt x="2182784" y="16891"/>
                </a:lnTo>
                <a:lnTo>
                  <a:pt x="2188133" y="13589"/>
                </a:lnTo>
                <a:lnTo>
                  <a:pt x="2183841" y="9271"/>
                </a:lnTo>
                <a:close/>
              </a:path>
              <a:path w="2188210" h="22860">
                <a:moveTo>
                  <a:pt x="24887" y="0"/>
                </a:moveTo>
                <a:lnTo>
                  <a:pt x="11309" y="2286"/>
                </a:lnTo>
                <a:lnTo>
                  <a:pt x="0" y="9271"/>
                </a:lnTo>
                <a:lnTo>
                  <a:pt x="4279" y="13589"/>
                </a:lnTo>
                <a:lnTo>
                  <a:pt x="13590" y="8001"/>
                </a:lnTo>
                <a:lnTo>
                  <a:pt x="24885" y="6096"/>
                </a:lnTo>
                <a:lnTo>
                  <a:pt x="44640" y="6096"/>
                </a:lnTo>
                <a:lnTo>
                  <a:pt x="38467" y="2286"/>
                </a:lnTo>
                <a:lnTo>
                  <a:pt x="24887" y="0"/>
                </a:lnTo>
                <a:close/>
              </a:path>
            </a:pathLst>
          </a:custGeom>
          <a:solidFill>
            <a:srgbClr val="273F8F"/>
          </a:solidFill>
        </p:spPr>
        <p:txBody>
          <a:bodyPr wrap="square" lIns="0" tIns="0" rIns="0" bIns="0" rtlCol="0"/>
          <a:lstStyle/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F69530A9-C794-4307-B6DB-5994FC25710F}"/>
              </a:ext>
            </a:extLst>
          </p:cNvPr>
          <p:cNvSpPr/>
          <p:nvPr/>
        </p:nvSpPr>
        <p:spPr>
          <a:xfrm>
            <a:off x="3532258" y="3003798"/>
            <a:ext cx="2188845" cy="22860"/>
          </a:xfrm>
          <a:custGeom>
            <a:avLst/>
            <a:gdLst/>
            <a:ahLst/>
            <a:cxnLst/>
            <a:rect l="l" t="t" r="r" b="b"/>
            <a:pathLst>
              <a:path w="2188845" h="22860">
                <a:moveTo>
                  <a:pt x="44437" y="5969"/>
                </a:moveTo>
                <a:lnTo>
                  <a:pt x="24896" y="5969"/>
                </a:lnTo>
                <a:lnTo>
                  <a:pt x="36191" y="7874"/>
                </a:lnTo>
                <a:lnTo>
                  <a:pt x="56817" y="20574"/>
                </a:lnTo>
                <a:lnTo>
                  <a:pt x="70404" y="22860"/>
                </a:lnTo>
                <a:lnTo>
                  <a:pt x="83983" y="20574"/>
                </a:lnTo>
                <a:lnTo>
                  <a:pt x="89944" y="16891"/>
                </a:lnTo>
                <a:lnTo>
                  <a:pt x="70394" y="16891"/>
                </a:lnTo>
                <a:lnTo>
                  <a:pt x="59096" y="14986"/>
                </a:lnTo>
                <a:lnTo>
                  <a:pt x="44437" y="5969"/>
                </a:lnTo>
                <a:close/>
              </a:path>
              <a:path w="2188845" h="22860">
                <a:moveTo>
                  <a:pt x="135443" y="5969"/>
                </a:moveTo>
                <a:lnTo>
                  <a:pt x="115903" y="5969"/>
                </a:lnTo>
                <a:lnTo>
                  <a:pt x="127195" y="7874"/>
                </a:lnTo>
                <a:lnTo>
                  <a:pt x="147816" y="20574"/>
                </a:lnTo>
                <a:lnTo>
                  <a:pt x="161396" y="22860"/>
                </a:lnTo>
                <a:lnTo>
                  <a:pt x="174974" y="20574"/>
                </a:lnTo>
                <a:lnTo>
                  <a:pt x="181142" y="16764"/>
                </a:lnTo>
                <a:lnTo>
                  <a:pt x="161386" y="16764"/>
                </a:lnTo>
                <a:lnTo>
                  <a:pt x="150095" y="14986"/>
                </a:lnTo>
                <a:lnTo>
                  <a:pt x="135443" y="5969"/>
                </a:lnTo>
                <a:close/>
              </a:path>
              <a:path w="2188845" h="22860">
                <a:moveTo>
                  <a:pt x="226441" y="5969"/>
                </a:moveTo>
                <a:lnTo>
                  <a:pt x="206894" y="5969"/>
                </a:lnTo>
                <a:lnTo>
                  <a:pt x="218189" y="7874"/>
                </a:lnTo>
                <a:lnTo>
                  <a:pt x="238813" y="20574"/>
                </a:lnTo>
                <a:lnTo>
                  <a:pt x="252396" y="22860"/>
                </a:lnTo>
                <a:lnTo>
                  <a:pt x="265974" y="20574"/>
                </a:lnTo>
                <a:lnTo>
                  <a:pt x="271935" y="16891"/>
                </a:lnTo>
                <a:lnTo>
                  <a:pt x="252391" y="16891"/>
                </a:lnTo>
                <a:lnTo>
                  <a:pt x="241098" y="14986"/>
                </a:lnTo>
                <a:lnTo>
                  <a:pt x="226441" y="5969"/>
                </a:lnTo>
                <a:close/>
              </a:path>
              <a:path w="2188845" h="22860">
                <a:moveTo>
                  <a:pt x="317435" y="5969"/>
                </a:moveTo>
                <a:lnTo>
                  <a:pt x="297894" y="5969"/>
                </a:lnTo>
                <a:lnTo>
                  <a:pt x="309186" y="7874"/>
                </a:lnTo>
                <a:lnTo>
                  <a:pt x="329809" y="20574"/>
                </a:lnTo>
                <a:lnTo>
                  <a:pt x="343392" y="22860"/>
                </a:lnTo>
                <a:lnTo>
                  <a:pt x="356970" y="20574"/>
                </a:lnTo>
                <a:lnTo>
                  <a:pt x="362930" y="16891"/>
                </a:lnTo>
                <a:lnTo>
                  <a:pt x="343388" y="16891"/>
                </a:lnTo>
                <a:lnTo>
                  <a:pt x="332094" y="14986"/>
                </a:lnTo>
                <a:lnTo>
                  <a:pt x="317435" y="5969"/>
                </a:lnTo>
                <a:close/>
              </a:path>
              <a:path w="2188845" h="22860">
                <a:moveTo>
                  <a:pt x="408431" y="5969"/>
                </a:moveTo>
                <a:lnTo>
                  <a:pt x="388894" y="5969"/>
                </a:lnTo>
                <a:lnTo>
                  <a:pt x="400187" y="7874"/>
                </a:lnTo>
                <a:lnTo>
                  <a:pt x="420804" y="20574"/>
                </a:lnTo>
                <a:lnTo>
                  <a:pt x="434389" y="22860"/>
                </a:lnTo>
                <a:lnTo>
                  <a:pt x="447971" y="20574"/>
                </a:lnTo>
                <a:lnTo>
                  <a:pt x="453935" y="16891"/>
                </a:lnTo>
                <a:lnTo>
                  <a:pt x="434393" y="16891"/>
                </a:lnTo>
                <a:lnTo>
                  <a:pt x="423096" y="14986"/>
                </a:lnTo>
                <a:lnTo>
                  <a:pt x="408431" y="5969"/>
                </a:lnTo>
                <a:close/>
              </a:path>
              <a:path w="2188845" h="22860">
                <a:moveTo>
                  <a:pt x="499427" y="5969"/>
                </a:moveTo>
                <a:lnTo>
                  <a:pt x="479888" y="5969"/>
                </a:lnTo>
                <a:lnTo>
                  <a:pt x="491183" y="7874"/>
                </a:lnTo>
                <a:lnTo>
                  <a:pt x="511805" y="20574"/>
                </a:lnTo>
                <a:lnTo>
                  <a:pt x="525386" y="22860"/>
                </a:lnTo>
                <a:lnTo>
                  <a:pt x="538966" y="20574"/>
                </a:lnTo>
                <a:lnTo>
                  <a:pt x="544931" y="16891"/>
                </a:lnTo>
                <a:lnTo>
                  <a:pt x="525391" y="16891"/>
                </a:lnTo>
                <a:lnTo>
                  <a:pt x="514092" y="14986"/>
                </a:lnTo>
                <a:lnTo>
                  <a:pt x="499427" y="5969"/>
                </a:lnTo>
                <a:close/>
              </a:path>
              <a:path w="2188845" h="22860">
                <a:moveTo>
                  <a:pt x="590423" y="5969"/>
                </a:moveTo>
                <a:lnTo>
                  <a:pt x="570884" y="5969"/>
                </a:lnTo>
                <a:lnTo>
                  <a:pt x="582182" y="7874"/>
                </a:lnTo>
                <a:lnTo>
                  <a:pt x="602801" y="20574"/>
                </a:lnTo>
                <a:lnTo>
                  <a:pt x="616381" y="22860"/>
                </a:lnTo>
                <a:lnTo>
                  <a:pt x="629962" y="20574"/>
                </a:lnTo>
                <a:lnTo>
                  <a:pt x="635926" y="16891"/>
                </a:lnTo>
                <a:lnTo>
                  <a:pt x="616381" y="16891"/>
                </a:lnTo>
                <a:lnTo>
                  <a:pt x="605082" y="14986"/>
                </a:lnTo>
                <a:lnTo>
                  <a:pt x="590423" y="5969"/>
                </a:lnTo>
                <a:close/>
              </a:path>
              <a:path w="2188845" h="22860">
                <a:moveTo>
                  <a:pt x="681418" y="5969"/>
                </a:moveTo>
                <a:lnTo>
                  <a:pt x="661879" y="5969"/>
                </a:lnTo>
                <a:lnTo>
                  <a:pt x="673177" y="7874"/>
                </a:lnTo>
                <a:lnTo>
                  <a:pt x="693803" y="20574"/>
                </a:lnTo>
                <a:lnTo>
                  <a:pt x="707386" y="22860"/>
                </a:lnTo>
                <a:lnTo>
                  <a:pt x="720965" y="20574"/>
                </a:lnTo>
                <a:lnTo>
                  <a:pt x="726925" y="16891"/>
                </a:lnTo>
                <a:lnTo>
                  <a:pt x="707377" y="16891"/>
                </a:lnTo>
                <a:lnTo>
                  <a:pt x="696078" y="14986"/>
                </a:lnTo>
                <a:lnTo>
                  <a:pt x="681418" y="5969"/>
                </a:lnTo>
                <a:close/>
              </a:path>
              <a:path w="2188845" h="22860">
                <a:moveTo>
                  <a:pt x="772424" y="5969"/>
                </a:moveTo>
                <a:lnTo>
                  <a:pt x="752879" y="5969"/>
                </a:lnTo>
                <a:lnTo>
                  <a:pt x="764175" y="7874"/>
                </a:lnTo>
                <a:lnTo>
                  <a:pt x="784799" y="20574"/>
                </a:lnTo>
                <a:lnTo>
                  <a:pt x="798382" y="22860"/>
                </a:lnTo>
                <a:lnTo>
                  <a:pt x="811960" y="20574"/>
                </a:lnTo>
                <a:lnTo>
                  <a:pt x="817921" y="16891"/>
                </a:lnTo>
                <a:lnTo>
                  <a:pt x="798374" y="16891"/>
                </a:lnTo>
                <a:lnTo>
                  <a:pt x="787079" y="14986"/>
                </a:lnTo>
                <a:lnTo>
                  <a:pt x="772424" y="5969"/>
                </a:lnTo>
                <a:close/>
              </a:path>
              <a:path w="2188845" h="22860">
                <a:moveTo>
                  <a:pt x="863422" y="5969"/>
                </a:moveTo>
                <a:lnTo>
                  <a:pt x="843881" y="5969"/>
                </a:lnTo>
                <a:lnTo>
                  <a:pt x="855177" y="7874"/>
                </a:lnTo>
                <a:lnTo>
                  <a:pt x="875800" y="20574"/>
                </a:lnTo>
                <a:lnTo>
                  <a:pt x="889379" y="22860"/>
                </a:lnTo>
                <a:lnTo>
                  <a:pt x="902956" y="20574"/>
                </a:lnTo>
                <a:lnTo>
                  <a:pt x="908916" y="16891"/>
                </a:lnTo>
                <a:lnTo>
                  <a:pt x="889374" y="16891"/>
                </a:lnTo>
                <a:lnTo>
                  <a:pt x="878079" y="14986"/>
                </a:lnTo>
                <a:lnTo>
                  <a:pt x="863422" y="5969"/>
                </a:lnTo>
                <a:close/>
              </a:path>
              <a:path w="2188845" h="22860">
                <a:moveTo>
                  <a:pt x="954417" y="5969"/>
                </a:moveTo>
                <a:lnTo>
                  <a:pt x="934877" y="5969"/>
                </a:lnTo>
                <a:lnTo>
                  <a:pt x="946173" y="7874"/>
                </a:lnTo>
                <a:lnTo>
                  <a:pt x="966795" y="20574"/>
                </a:lnTo>
                <a:lnTo>
                  <a:pt x="980374" y="22860"/>
                </a:lnTo>
                <a:lnTo>
                  <a:pt x="993951" y="20574"/>
                </a:lnTo>
                <a:lnTo>
                  <a:pt x="999912" y="16891"/>
                </a:lnTo>
                <a:lnTo>
                  <a:pt x="980370" y="16891"/>
                </a:lnTo>
                <a:lnTo>
                  <a:pt x="969075" y="14986"/>
                </a:lnTo>
                <a:lnTo>
                  <a:pt x="954417" y="5969"/>
                </a:lnTo>
                <a:close/>
              </a:path>
              <a:path w="2188845" h="22860">
                <a:moveTo>
                  <a:pt x="1045412" y="5969"/>
                </a:moveTo>
                <a:lnTo>
                  <a:pt x="1025872" y="5969"/>
                </a:lnTo>
                <a:lnTo>
                  <a:pt x="1037168" y="7874"/>
                </a:lnTo>
                <a:lnTo>
                  <a:pt x="1057796" y="20574"/>
                </a:lnTo>
                <a:lnTo>
                  <a:pt x="1071375" y="22860"/>
                </a:lnTo>
                <a:lnTo>
                  <a:pt x="1084949" y="20574"/>
                </a:lnTo>
                <a:lnTo>
                  <a:pt x="1090908" y="16891"/>
                </a:lnTo>
                <a:lnTo>
                  <a:pt x="1071364" y="16891"/>
                </a:lnTo>
                <a:lnTo>
                  <a:pt x="1060070" y="14986"/>
                </a:lnTo>
                <a:lnTo>
                  <a:pt x="1045412" y="5969"/>
                </a:lnTo>
                <a:close/>
              </a:path>
              <a:path w="2188845" h="22860">
                <a:moveTo>
                  <a:pt x="1136428" y="5969"/>
                </a:moveTo>
                <a:lnTo>
                  <a:pt x="1116868" y="5969"/>
                </a:lnTo>
                <a:lnTo>
                  <a:pt x="1128167" y="7874"/>
                </a:lnTo>
                <a:lnTo>
                  <a:pt x="1148779" y="20574"/>
                </a:lnTo>
                <a:lnTo>
                  <a:pt x="1162359" y="22860"/>
                </a:lnTo>
                <a:lnTo>
                  <a:pt x="1175946" y="20574"/>
                </a:lnTo>
                <a:lnTo>
                  <a:pt x="1181926" y="16891"/>
                </a:lnTo>
                <a:lnTo>
                  <a:pt x="1162359" y="16891"/>
                </a:lnTo>
                <a:lnTo>
                  <a:pt x="1151066" y="14986"/>
                </a:lnTo>
                <a:lnTo>
                  <a:pt x="1136428" y="5969"/>
                </a:lnTo>
                <a:close/>
              </a:path>
              <a:path w="2188845" h="22860">
                <a:moveTo>
                  <a:pt x="1227420" y="5969"/>
                </a:moveTo>
                <a:lnTo>
                  <a:pt x="1207857" y="5969"/>
                </a:lnTo>
                <a:lnTo>
                  <a:pt x="1219152" y="7874"/>
                </a:lnTo>
                <a:lnTo>
                  <a:pt x="1239777" y="20574"/>
                </a:lnTo>
                <a:lnTo>
                  <a:pt x="1253359" y="22860"/>
                </a:lnTo>
                <a:lnTo>
                  <a:pt x="1266947" y="20574"/>
                </a:lnTo>
                <a:lnTo>
                  <a:pt x="1272927" y="16891"/>
                </a:lnTo>
                <a:lnTo>
                  <a:pt x="1253355" y="16891"/>
                </a:lnTo>
                <a:lnTo>
                  <a:pt x="1242062" y="14986"/>
                </a:lnTo>
                <a:lnTo>
                  <a:pt x="1227420" y="5969"/>
                </a:lnTo>
                <a:close/>
              </a:path>
              <a:path w="2188845" h="22860">
                <a:moveTo>
                  <a:pt x="1318410" y="5969"/>
                </a:moveTo>
                <a:lnTo>
                  <a:pt x="1298862" y="5969"/>
                </a:lnTo>
                <a:lnTo>
                  <a:pt x="1310159" y="7874"/>
                </a:lnTo>
                <a:lnTo>
                  <a:pt x="1330772" y="20574"/>
                </a:lnTo>
                <a:lnTo>
                  <a:pt x="1344355" y="22860"/>
                </a:lnTo>
                <a:lnTo>
                  <a:pt x="1357942" y="20574"/>
                </a:lnTo>
                <a:lnTo>
                  <a:pt x="1363922" y="16891"/>
                </a:lnTo>
                <a:lnTo>
                  <a:pt x="1344355" y="16891"/>
                </a:lnTo>
                <a:lnTo>
                  <a:pt x="1333063" y="14986"/>
                </a:lnTo>
                <a:lnTo>
                  <a:pt x="1318410" y="5969"/>
                </a:lnTo>
                <a:close/>
              </a:path>
              <a:path w="2188845" h="22860">
                <a:moveTo>
                  <a:pt x="1409406" y="5969"/>
                </a:moveTo>
                <a:lnTo>
                  <a:pt x="1389857" y="5969"/>
                </a:lnTo>
                <a:lnTo>
                  <a:pt x="1401154" y="7874"/>
                </a:lnTo>
                <a:lnTo>
                  <a:pt x="1421768" y="20574"/>
                </a:lnTo>
                <a:lnTo>
                  <a:pt x="1435350" y="22860"/>
                </a:lnTo>
                <a:lnTo>
                  <a:pt x="1448938" y="20574"/>
                </a:lnTo>
                <a:lnTo>
                  <a:pt x="1454919" y="16891"/>
                </a:lnTo>
                <a:lnTo>
                  <a:pt x="1435350" y="16891"/>
                </a:lnTo>
                <a:lnTo>
                  <a:pt x="1424058" y="14986"/>
                </a:lnTo>
                <a:lnTo>
                  <a:pt x="1409406" y="5969"/>
                </a:lnTo>
                <a:close/>
              </a:path>
              <a:path w="2188845" h="22860">
                <a:moveTo>
                  <a:pt x="1500422" y="5969"/>
                </a:moveTo>
                <a:lnTo>
                  <a:pt x="1480854" y="5969"/>
                </a:lnTo>
                <a:lnTo>
                  <a:pt x="1492151" y="7874"/>
                </a:lnTo>
                <a:lnTo>
                  <a:pt x="1512774" y="20574"/>
                </a:lnTo>
                <a:lnTo>
                  <a:pt x="1526352" y="22860"/>
                </a:lnTo>
                <a:lnTo>
                  <a:pt x="1539935" y="20574"/>
                </a:lnTo>
                <a:lnTo>
                  <a:pt x="1545916" y="16891"/>
                </a:lnTo>
                <a:lnTo>
                  <a:pt x="1526352" y="16891"/>
                </a:lnTo>
                <a:lnTo>
                  <a:pt x="1515064" y="14986"/>
                </a:lnTo>
                <a:lnTo>
                  <a:pt x="1500422" y="5969"/>
                </a:lnTo>
                <a:close/>
              </a:path>
              <a:path w="2188845" h="22860">
                <a:moveTo>
                  <a:pt x="1591419" y="5969"/>
                </a:moveTo>
                <a:lnTo>
                  <a:pt x="1571850" y="5969"/>
                </a:lnTo>
                <a:lnTo>
                  <a:pt x="1583147" y="7874"/>
                </a:lnTo>
                <a:lnTo>
                  <a:pt x="1603762" y="20574"/>
                </a:lnTo>
                <a:lnTo>
                  <a:pt x="1617338" y="22860"/>
                </a:lnTo>
                <a:lnTo>
                  <a:pt x="1630924" y="20574"/>
                </a:lnTo>
                <a:lnTo>
                  <a:pt x="1636906" y="16891"/>
                </a:lnTo>
                <a:lnTo>
                  <a:pt x="1617357" y="16891"/>
                </a:lnTo>
                <a:lnTo>
                  <a:pt x="1606063" y="14986"/>
                </a:lnTo>
                <a:lnTo>
                  <a:pt x="1591419" y="5969"/>
                </a:lnTo>
                <a:close/>
              </a:path>
              <a:path w="2188845" h="22860">
                <a:moveTo>
                  <a:pt x="1682414" y="5969"/>
                </a:moveTo>
                <a:lnTo>
                  <a:pt x="1662845" y="5969"/>
                </a:lnTo>
                <a:lnTo>
                  <a:pt x="1674142" y="7874"/>
                </a:lnTo>
                <a:lnTo>
                  <a:pt x="1683461" y="13589"/>
                </a:lnTo>
                <a:lnTo>
                  <a:pt x="1688690" y="17653"/>
                </a:lnTo>
                <a:lnTo>
                  <a:pt x="1694773" y="20574"/>
                </a:lnTo>
                <a:lnTo>
                  <a:pt x="1701424" y="22352"/>
                </a:lnTo>
                <a:lnTo>
                  <a:pt x="1708353" y="22860"/>
                </a:lnTo>
                <a:lnTo>
                  <a:pt x="1715280" y="22352"/>
                </a:lnTo>
                <a:lnTo>
                  <a:pt x="1721926" y="20574"/>
                </a:lnTo>
                <a:lnTo>
                  <a:pt x="1728005" y="17653"/>
                </a:lnTo>
                <a:lnTo>
                  <a:pt x="1728985" y="16891"/>
                </a:lnTo>
                <a:lnTo>
                  <a:pt x="1708346" y="16891"/>
                </a:lnTo>
                <a:lnTo>
                  <a:pt x="1697057" y="14986"/>
                </a:lnTo>
                <a:lnTo>
                  <a:pt x="1682414" y="5969"/>
                </a:lnTo>
                <a:close/>
              </a:path>
              <a:path w="2188845" h="22860">
                <a:moveTo>
                  <a:pt x="1773391" y="5969"/>
                </a:moveTo>
                <a:lnTo>
                  <a:pt x="1753838" y="5969"/>
                </a:lnTo>
                <a:lnTo>
                  <a:pt x="1765136" y="7874"/>
                </a:lnTo>
                <a:lnTo>
                  <a:pt x="1785762" y="20574"/>
                </a:lnTo>
                <a:lnTo>
                  <a:pt x="1799345" y="22860"/>
                </a:lnTo>
                <a:lnTo>
                  <a:pt x="1812923" y="20574"/>
                </a:lnTo>
                <a:lnTo>
                  <a:pt x="1818884" y="16891"/>
                </a:lnTo>
                <a:lnTo>
                  <a:pt x="1799345" y="16891"/>
                </a:lnTo>
                <a:lnTo>
                  <a:pt x="1788052" y="14986"/>
                </a:lnTo>
                <a:lnTo>
                  <a:pt x="1773391" y="5969"/>
                </a:lnTo>
                <a:close/>
              </a:path>
              <a:path w="2188845" h="22860">
                <a:moveTo>
                  <a:pt x="1864387" y="5969"/>
                </a:moveTo>
                <a:lnTo>
                  <a:pt x="1844833" y="5969"/>
                </a:lnTo>
                <a:lnTo>
                  <a:pt x="1856131" y="7874"/>
                </a:lnTo>
                <a:lnTo>
                  <a:pt x="1876759" y="20574"/>
                </a:lnTo>
                <a:lnTo>
                  <a:pt x="1890347" y="22860"/>
                </a:lnTo>
                <a:lnTo>
                  <a:pt x="1903930" y="20574"/>
                </a:lnTo>
                <a:lnTo>
                  <a:pt x="1909891" y="16891"/>
                </a:lnTo>
                <a:lnTo>
                  <a:pt x="1890347" y="16891"/>
                </a:lnTo>
                <a:lnTo>
                  <a:pt x="1879050" y="14986"/>
                </a:lnTo>
                <a:lnTo>
                  <a:pt x="1864387" y="5969"/>
                </a:lnTo>
                <a:close/>
              </a:path>
              <a:path w="2188845" h="22860">
                <a:moveTo>
                  <a:pt x="1955383" y="5969"/>
                </a:moveTo>
                <a:lnTo>
                  <a:pt x="1935835" y="5969"/>
                </a:lnTo>
                <a:lnTo>
                  <a:pt x="1947129" y="7874"/>
                </a:lnTo>
                <a:lnTo>
                  <a:pt x="1967755" y="20574"/>
                </a:lnTo>
                <a:lnTo>
                  <a:pt x="1981342" y="22860"/>
                </a:lnTo>
                <a:lnTo>
                  <a:pt x="1994925" y="20574"/>
                </a:lnTo>
                <a:lnTo>
                  <a:pt x="2000886" y="16891"/>
                </a:lnTo>
                <a:lnTo>
                  <a:pt x="1981342" y="16891"/>
                </a:lnTo>
                <a:lnTo>
                  <a:pt x="1970045" y="14986"/>
                </a:lnTo>
                <a:lnTo>
                  <a:pt x="1955383" y="5969"/>
                </a:lnTo>
                <a:close/>
              </a:path>
              <a:path w="2188845" h="22860">
                <a:moveTo>
                  <a:pt x="2046379" y="5969"/>
                </a:moveTo>
                <a:lnTo>
                  <a:pt x="2026831" y="5969"/>
                </a:lnTo>
                <a:lnTo>
                  <a:pt x="2038124" y="7874"/>
                </a:lnTo>
                <a:lnTo>
                  <a:pt x="2058750" y="20574"/>
                </a:lnTo>
                <a:lnTo>
                  <a:pt x="2072338" y="22860"/>
                </a:lnTo>
                <a:lnTo>
                  <a:pt x="2085921" y="20574"/>
                </a:lnTo>
                <a:lnTo>
                  <a:pt x="2091882" y="16891"/>
                </a:lnTo>
                <a:lnTo>
                  <a:pt x="2072338" y="16891"/>
                </a:lnTo>
                <a:lnTo>
                  <a:pt x="2061041" y="14986"/>
                </a:lnTo>
                <a:lnTo>
                  <a:pt x="2046379" y="5969"/>
                </a:lnTo>
                <a:close/>
              </a:path>
              <a:path w="2188845" h="22860">
                <a:moveTo>
                  <a:pt x="2137374" y="5969"/>
                </a:moveTo>
                <a:lnTo>
                  <a:pt x="2117826" y="5969"/>
                </a:lnTo>
                <a:lnTo>
                  <a:pt x="2129120" y="7874"/>
                </a:lnTo>
                <a:lnTo>
                  <a:pt x="2149739" y="20574"/>
                </a:lnTo>
                <a:lnTo>
                  <a:pt x="2163324" y="22860"/>
                </a:lnTo>
                <a:lnTo>
                  <a:pt x="2176909" y="20574"/>
                </a:lnTo>
                <a:lnTo>
                  <a:pt x="2182874" y="16891"/>
                </a:lnTo>
                <a:lnTo>
                  <a:pt x="2163338" y="16891"/>
                </a:lnTo>
                <a:lnTo>
                  <a:pt x="2152038" y="14986"/>
                </a:lnTo>
                <a:lnTo>
                  <a:pt x="2137374" y="5969"/>
                </a:lnTo>
                <a:close/>
              </a:path>
              <a:path w="2188845" h="22860">
                <a:moveTo>
                  <a:pt x="115898" y="0"/>
                </a:moveTo>
                <a:lnTo>
                  <a:pt x="102317" y="2286"/>
                </a:lnTo>
                <a:lnTo>
                  <a:pt x="81689" y="14986"/>
                </a:lnTo>
                <a:lnTo>
                  <a:pt x="70394" y="16891"/>
                </a:lnTo>
                <a:lnTo>
                  <a:pt x="89944" y="16891"/>
                </a:lnTo>
                <a:lnTo>
                  <a:pt x="104606" y="7874"/>
                </a:lnTo>
                <a:lnTo>
                  <a:pt x="115903" y="5969"/>
                </a:lnTo>
                <a:lnTo>
                  <a:pt x="135443" y="5969"/>
                </a:lnTo>
                <a:lnTo>
                  <a:pt x="129477" y="2286"/>
                </a:lnTo>
                <a:lnTo>
                  <a:pt x="115898" y="0"/>
                </a:lnTo>
                <a:close/>
              </a:path>
              <a:path w="2188845" h="22860">
                <a:moveTo>
                  <a:pt x="297889" y="0"/>
                </a:moveTo>
                <a:lnTo>
                  <a:pt x="284305" y="2286"/>
                </a:lnTo>
                <a:lnTo>
                  <a:pt x="263682" y="14986"/>
                </a:lnTo>
                <a:lnTo>
                  <a:pt x="252391" y="16891"/>
                </a:lnTo>
                <a:lnTo>
                  <a:pt x="271935" y="16891"/>
                </a:lnTo>
                <a:lnTo>
                  <a:pt x="286597" y="7874"/>
                </a:lnTo>
                <a:lnTo>
                  <a:pt x="297894" y="5969"/>
                </a:lnTo>
                <a:lnTo>
                  <a:pt x="317435" y="5969"/>
                </a:lnTo>
                <a:lnTo>
                  <a:pt x="311471" y="2286"/>
                </a:lnTo>
                <a:lnTo>
                  <a:pt x="297889" y="0"/>
                </a:lnTo>
                <a:close/>
              </a:path>
              <a:path w="2188845" h="22860">
                <a:moveTo>
                  <a:pt x="388886" y="0"/>
                </a:moveTo>
                <a:lnTo>
                  <a:pt x="375306" y="2286"/>
                </a:lnTo>
                <a:lnTo>
                  <a:pt x="354683" y="14986"/>
                </a:lnTo>
                <a:lnTo>
                  <a:pt x="343388" y="16891"/>
                </a:lnTo>
                <a:lnTo>
                  <a:pt x="362930" y="16891"/>
                </a:lnTo>
                <a:lnTo>
                  <a:pt x="377594" y="7874"/>
                </a:lnTo>
                <a:lnTo>
                  <a:pt x="388894" y="5969"/>
                </a:lnTo>
                <a:lnTo>
                  <a:pt x="408431" y="5969"/>
                </a:lnTo>
                <a:lnTo>
                  <a:pt x="402467" y="2286"/>
                </a:lnTo>
                <a:lnTo>
                  <a:pt x="388886" y="0"/>
                </a:lnTo>
                <a:close/>
              </a:path>
              <a:path w="2188845" h="22860">
                <a:moveTo>
                  <a:pt x="479886" y="0"/>
                </a:moveTo>
                <a:lnTo>
                  <a:pt x="466306" y="2286"/>
                </a:lnTo>
                <a:lnTo>
                  <a:pt x="445686" y="14986"/>
                </a:lnTo>
                <a:lnTo>
                  <a:pt x="434393" y="16891"/>
                </a:lnTo>
                <a:lnTo>
                  <a:pt x="453935" y="16891"/>
                </a:lnTo>
                <a:lnTo>
                  <a:pt x="468593" y="7874"/>
                </a:lnTo>
                <a:lnTo>
                  <a:pt x="479888" y="5969"/>
                </a:lnTo>
                <a:lnTo>
                  <a:pt x="499427" y="5969"/>
                </a:lnTo>
                <a:lnTo>
                  <a:pt x="493464" y="2286"/>
                </a:lnTo>
                <a:lnTo>
                  <a:pt x="479886" y="0"/>
                </a:lnTo>
                <a:close/>
              </a:path>
              <a:path w="2188845" h="22860">
                <a:moveTo>
                  <a:pt x="570884" y="0"/>
                </a:moveTo>
                <a:lnTo>
                  <a:pt x="557307" y="2286"/>
                </a:lnTo>
                <a:lnTo>
                  <a:pt x="536687" y="14986"/>
                </a:lnTo>
                <a:lnTo>
                  <a:pt x="525391" y="16891"/>
                </a:lnTo>
                <a:lnTo>
                  <a:pt x="544931" y="16891"/>
                </a:lnTo>
                <a:lnTo>
                  <a:pt x="559585" y="7874"/>
                </a:lnTo>
                <a:lnTo>
                  <a:pt x="570884" y="5969"/>
                </a:lnTo>
                <a:lnTo>
                  <a:pt x="590423" y="5969"/>
                </a:lnTo>
                <a:lnTo>
                  <a:pt x="584460" y="2286"/>
                </a:lnTo>
                <a:lnTo>
                  <a:pt x="570884" y="0"/>
                </a:lnTo>
                <a:close/>
              </a:path>
              <a:path w="2188845" h="22860">
                <a:moveTo>
                  <a:pt x="661879" y="0"/>
                </a:moveTo>
                <a:lnTo>
                  <a:pt x="648303" y="2286"/>
                </a:lnTo>
                <a:lnTo>
                  <a:pt x="627680" y="14986"/>
                </a:lnTo>
                <a:lnTo>
                  <a:pt x="616381" y="16891"/>
                </a:lnTo>
                <a:lnTo>
                  <a:pt x="635926" y="16891"/>
                </a:lnTo>
                <a:lnTo>
                  <a:pt x="650581" y="7874"/>
                </a:lnTo>
                <a:lnTo>
                  <a:pt x="661879" y="5969"/>
                </a:lnTo>
                <a:lnTo>
                  <a:pt x="681418" y="5969"/>
                </a:lnTo>
                <a:lnTo>
                  <a:pt x="675455" y="2286"/>
                </a:lnTo>
                <a:lnTo>
                  <a:pt x="661879" y="0"/>
                </a:lnTo>
                <a:close/>
              </a:path>
              <a:path w="2188845" h="22860">
                <a:moveTo>
                  <a:pt x="752881" y="0"/>
                </a:moveTo>
                <a:lnTo>
                  <a:pt x="739304" y="2286"/>
                </a:lnTo>
                <a:lnTo>
                  <a:pt x="718676" y="14986"/>
                </a:lnTo>
                <a:lnTo>
                  <a:pt x="707377" y="16891"/>
                </a:lnTo>
                <a:lnTo>
                  <a:pt x="726925" y="16891"/>
                </a:lnTo>
                <a:lnTo>
                  <a:pt x="741582" y="7874"/>
                </a:lnTo>
                <a:lnTo>
                  <a:pt x="752879" y="5969"/>
                </a:lnTo>
                <a:lnTo>
                  <a:pt x="772424" y="5969"/>
                </a:lnTo>
                <a:lnTo>
                  <a:pt x="766458" y="2286"/>
                </a:lnTo>
                <a:lnTo>
                  <a:pt x="752881" y="0"/>
                </a:lnTo>
                <a:close/>
              </a:path>
              <a:path w="2188845" h="22860">
                <a:moveTo>
                  <a:pt x="843881" y="0"/>
                </a:moveTo>
                <a:lnTo>
                  <a:pt x="830301" y="2286"/>
                </a:lnTo>
                <a:lnTo>
                  <a:pt x="809672" y="14986"/>
                </a:lnTo>
                <a:lnTo>
                  <a:pt x="798374" y="16891"/>
                </a:lnTo>
                <a:lnTo>
                  <a:pt x="817921" y="16891"/>
                </a:lnTo>
                <a:lnTo>
                  <a:pt x="832583" y="7874"/>
                </a:lnTo>
                <a:lnTo>
                  <a:pt x="843881" y="5969"/>
                </a:lnTo>
                <a:lnTo>
                  <a:pt x="863422" y="5969"/>
                </a:lnTo>
                <a:lnTo>
                  <a:pt x="857459" y="2286"/>
                </a:lnTo>
                <a:lnTo>
                  <a:pt x="843881" y="0"/>
                </a:lnTo>
                <a:close/>
              </a:path>
              <a:path w="2188845" h="22860">
                <a:moveTo>
                  <a:pt x="934872" y="0"/>
                </a:moveTo>
                <a:lnTo>
                  <a:pt x="921291" y="2286"/>
                </a:lnTo>
                <a:lnTo>
                  <a:pt x="900669" y="14986"/>
                </a:lnTo>
                <a:lnTo>
                  <a:pt x="889374" y="16891"/>
                </a:lnTo>
                <a:lnTo>
                  <a:pt x="908916" y="16891"/>
                </a:lnTo>
                <a:lnTo>
                  <a:pt x="923578" y="7874"/>
                </a:lnTo>
                <a:lnTo>
                  <a:pt x="934877" y="5969"/>
                </a:lnTo>
                <a:lnTo>
                  <a:pt x="954417" y="5969"/>
                </a:lnTo>
                <a:lnTo>
                  <a:pt x="948453" y="2286"/>
                </a:lnTo>
                <a:lnTo>
                  <a:pt x="934872" y="0"/>
                </a:lnTo>
                <a:close/>
              </a:path>
              <a:path w="2188845" h="22860">
                <a:moveTo>
                  <a:pt x="1025867" y="0"/>
                </a:moveTo>
                <a:lnTo>
                  <a:pt x="1012287" y="2286"/>
                </a:lnTo>
                <a:lnTo>
                  <a:pt x="991664" y="14986"/>
                </a:lnTo>
                <a:lnTo>
                  <a:pt x="980370" y="16891"/>
                </a:lnTo>
                <a:lnTo>
                  <a:pt x="999912" y="16891"/>
                </a:lnTo>
                <a:lnTo>
                  <a:pt x="1014574" y="7874"/>
                </a:lnTo>
                <a:lnTo>
                  <a:pt x="1025872" y="5969"/>
                </a:lnTo>
                <a:lnTo>
                  <a:pt x="1045412" y="5969"/>
                </a:lnTo>
                <a:lnTo>
                  <a:pt x="1039448" y="2286"/>
                </a:lnTo>
                <a:lnTo>
                  <a:pt x="1025867" y="0"/>
                </a:lnTo>
                <a:close/>
              </a:path>
              <a:path w="2188845" h="22860">
                <a:moveTo>
                  <a:pt x="1116863" y="0"/>
                </a:moveTo>
                <a:lnTo>
                  <a:pt x="1103277" y="2286"/>
                </a:lnTo>
                <a:lnTo>
                  <a:pt x="1082654" y="14986"/>
                </a:lnTo>
                <a:lnTo>
                  <a:pt x="1071364" y="16891"/>
                </a:lnTo>
                <a:lnTo>
                  <a:pt x="1090908" y="16891"/>
                </a:lnTo>
                <a:lnTo>
                  <a:pt x="1105566" y="7874"/>
                </a:lnTo>
                <a:lnTo>
                  <a:pt x="1116868" y="5969"/>
                </a:lnTo>
                <a:lnTo>
                  <a:pt x="1136428" y="5969"/>
                </a:lnTo>
                <a:lnTo>
                  <a:pt x="1130449" y="2286"/>
                </a:lnTo>
                <a:lnTo>
                  <a:pt x="1116863" y="0"/>
                </a:lnTo>
                <a:close/>
              </a:path>
              <a:path w="2188845" h="22860">
                <a:moveTo>
                  <a:pt x="1207857" y="0"/>
                </a:moveTo>
                <a:lnTo>
                  <a:pt x="1194282" y="2286"/>
                </a:lnTo>
                <a:lnTo>
                  <a:pt x="1173659" y="14986"/>
                </a:lnTo>
                <a:lnTo>
                  <a:pt x="1162359" y="16891"/>
                </a:lnTo>
                <a:lnTo>
                  <a:pt x="1181926" y="16891"/>
                </a:lnTo>
                <a:lnTo>
                  <a:pt x="1196568" y="7874"/>
                </a:lnTo>
                <a:lnTo>
                  <a:pt x="1207857" y="5969"/>
                </a:lnTo>
                <a:lnTo>
                  <a:pt x="1227420" y="5969"/>
                </a:lnTo>
                <a:lnTo>
                  <a:pt x="1221439" y="2286"/>
                </a:lnTo>
                <a:lnTo>
                  <a:pt x="1207857" y="0"/>
                </a:lnTo>
                <a:close/>
              </a:path>
              <a:path w="2188845" h="22860">
                <a:moveTo>
                  <a:pt x="1298838" y="0"/>
                </a:moveTo>
                <a:lnTo>
                  <a:pt x="1285265" y="2286"/>
                </a:lnTo>
                <a:lnTo>
                  <a:pt x="1264655" y="14986"/>
                </a:lnTo>
                <a:lnTo>
                  <a:pt x="1253355" y="16891"/>
                </a:lnTo>
                <a:lnTo>
                  <a:pt x="1272927" y="16891"/>
                </a:lnTo>
                <a:lnTo>
                  <a:pt x="1287567" y="7874"/>
                </a:lnTo>
                <a:lnTo>
                  <a:pt x="1298862" y="5969"/>
                </a:lnTo>
                <a:lnTo>
                  <a:pt x="1318410" y="5969"/>
                </a:lnTo>
                <a:lnTo>
                  <a:pt x="1312426" y="2286"/>
                </a:lnTo>
                <a:lnTo>
                  <a:pt x="1298838" y="0"/>
                </a:lnTo>
                <a:close/>
              </a:path>
              <a:path w="2188845" h="22860">
                <a:moveTo>
                  <a:pt x="1389834" y="0"/>
                </a:moveTo>
                <a:lnTo>
                  <a:pt x="1376260" y="2286"/>
                </a:lnTo>
                <a:lnTo>
                  <a:pt x="1355652" y="14986"/>
                </a:lnTo>
                <a:lnTo>
                  <a:pt x="1344355" y="16891"/>
                </a:lnTo>
                <a:lnTo>
                  <a:pt x="1363922" y="16891"/>
                </a:lnTo>
                <a:lnTo>
                  <a:pt x="1378563" y="7874"/>
                </a:lnTo>
                <a:lnTo>
                  <a:pt x="1389857" y="5969"/>
                </a:lnTo>
                <a:lnTo>
                  <a:pt x="1409406" y="5969"/>
                </a:lnTo>
                <a:lnTo>
                  <a:pt x="1403421" y="2286"/>
                </a:lnTo>
                <a:lnTo>
                  <a:pt x="1389834" y="0"/>
                </a:lnTo>
                <a:close/>
              </a:path>
              <a:path w="2188845" h="22860">
                <a:moveTo>
                  <a:pt x="1480854" y="0"/>
                </a:moveTo>
                <a:lnTo>
                  <a:pt x="1467272" y="2286"/>
                </a:lnTo>
                <a:lnTo>
                  <a:pt x="1446647" y="14986"/>
                </a:lnTo>
                <a:lnTo>
                  <a:pt x="1435350" y="16891"/>
                </a:lnTo>
                <a:lnTo>
                  <a:pt x="1454919" y="16891"/>
                </a:lnTo>
                <a:lnTo>
                  <a:pt x="1469562" y="7874"/>
                </a:lnTo>
                <a:lnTo>
                  <a:pt x="1480854" y="5969"/>
                </a:lnTo>
                <a:lnTo>
                  <a:pt x="1500422" y="5969"/>
                </a:lnTo>
                <a:lnTo>
                  <a:pt x="1494442" y="2286"/>
                </a:lnTo>
                <a:lnTo>
                  <a:pt x="1480854" y="0"/>
                </a:lnTo>
                <a:close/>
              </a:path>
              <a:path w="2188845" h="22860">
                <a:moveTo>
                  <a:pt x="1571850" y="0"/>
                </a:moveTo>
                <a:lnTo>
                  <a:pt x="1558267" y="2286"/>
                </a:lnTo>
                <a:lnTo>
                  <a:pt x="1537645" y="14986"/>
                </a:lnTo>
                <a:lnTo>
                  <a:pt x="1526352" y="16891"/>
                </a:lnTo>
                <a:lnTo>
                  <a:pt x="1545916" y="16891"/>
                </a:lnTo>
                <a:lnTo>
                  <a:pt x="1560558" y="7874"/>
                </a:lnTo>
                <a:lnTo>
                  <a:pt x="1571850" y="5969"/>
                </a:lnTo>
                <a:lnTo>
                  <a:pt x="1591419" y="5969"/>
                </a:lnTo>
                <a:lnTo>
                  <a:pt x="1585437" y="2286"/>
                </a:lnTo>
                <a:lnTo>
                  <a:pt x="1571850" y="0"/>
                </a:lnTo>
                <a:close/>
              </a:path>
              <a:path w="2188845" h="22860">
                <a:moveTo>
                  <a:pt x="1662845" y="0"/>
                </a:moveTo>
                <a:lnTo>
                  <a:pt x="1649263" y="2286"/>
                </a:lnTo>
                <a:lnTo>
                  <a:pt x="1628651" y="14986"/>
                </a:lnTo>
                <a:lnTo>
                  <a:pt x="1617357" y="16891"/>
                </a:lnTo>
                <a:lnTo>
                  <a:pt x="1636906" y="16891"/>
                </a:lnTo>
                <a:lnTo>
                  <a:pt x="1651553" y="7874"/>
                </a:lnTo>
                <a:lnTo>
                  <a:pt x="1662845" y="5969"/>
                </a:lnTo>
                <a:lnTo>
                  <a:pt x="1682414" y="5969"/>
                </a:lnTo>
                <a:lnTo>
                  <a:pt x="1676433" y="2286"/>
                </a:lnTo>
                <a:lnTo>
                  <a:pt x="1662845" y="0"/>
                </a:lnTo>
                <a:close/>
              </a:path>
              <a:path w="2188845" h="22860">
                <a:moveTo>
                  <a:pt x="1753847" y="0"/>
                </a:moveTo>
                <a:lnTo>
                  <a:pt x="1740260" y="2286"/>
                </a:lnTo>
                <a:lnTo>
                  <a:pt x="1719636" y="14986"/>
                </a:lnTo>
                <a:lnTo>
                  <a:pt x="1708346" y="16891"/>
                </a:lnTo>
                <a:lnTo>
                  <a:pt x="1728985" y="16891"/>
                </a:lnTo>
                <a:lnTo>
                  <a:pt x="1733232" y="13589"/>
                </a:lnTo>
                <a:lnTo>
                  <a:pt x="1742540" y="7874"/>
                </a:lnTo>
                <a:lnTo>
                  <a:pt x="1753838" y="5969"/>
                </a:lnTo>
                <a:lnTo>
                  <a:pt x="1773391" y="5969"/>
                </a:lnTo>
                <a:lnTo>
                  <a:pt x="1767430" y="2286"/>
                </a:lnTo>
                <a:lnTo>
                  <a:pt x="1753847" y="0"/>
                </a:lnTo>
                <a:close/>
              </a:path>
              <a:path w="2188845" h="22860">
                <a:moveTo>
                  <a:pt x="1844843" y="0"/>
                </a:moveTo>
                <a:lnTo>
                  <a:pt x="1831255" y="2286"/>
                </a:lnTo>
                <a:lnTo>
                  <a:pt x="1810633" y="14986"/>
                </a:lnTo>
                <a:lnTo>
                  <a:pt x="1799345" y="16891"/>
                </a:lnTo>
                <a:lnTo>
                  <a:pt x="1818884" y="16891"/>
                </a:lnTo>
                <a:lnTo>
                  <a:pt x="1833535" y="7874"/>
                </a:lnTo>
                <a:lnTo>
                  <a:pt x="1844833" y="5969"/>
                </a:lnTo>
                <a:lnTo>
                  <a:pt x="1864387" y="5969"/>
                </a:lnTo>
                <a:lnTo>
                  <a:pt x="1858425" y="2286"/>
                </a:lnTo>
                <a:lnTo>
                  <a:pt x="1844843" y="0"/>
                </a:lnTo>
                <a:close/>
              </a:path>
              <a:path w="2188845" h="22860">
                <a:moveTo>
                  <a:pt x="1935845" y="0"/>
                </a:moveTo>
                <a:lnTo>
                  <a:pt x="1922262" y="2286"/>
                </a:lnTo>
                <a:lnTo>
                  <a:pt x="1901639" y="14986"/>
                </a:lnTo>
                <a:lnTo>
                  <a:pt x="1890347" y="16891"/>
                </a:lnTo>
                <a:lnTo>
                  <a:pt x="1909891" y="16891"/>
                </a:lnTo>
                <a:lnTo>
                  <a:pt x="1924541" y="7874"/>
                </a:lnTo>
                <a:lnTo>
                  <a:pt x="1935835" y="5969"/>
                </a:lnTo>
                <a:lnTo>
                  <a:pt x="1955383" y="5969"/>
                </a:lnTo>
                <a:lnTo>
                  <a:pt x="1949423" y="2286"/>
                </a:lnTo>
                <a:lnTo>
                  <a:pt x="1935845" y="0"/>
                </a:lnTo>
                <a:close/>
              </a:path>
              <a:path w="2188845" h="22860">
                <a:moveTo>
                  <a:pt x="2026840" y="0"/>
                </a:moveTo>
                <a:lnTo>
                  <a:pt x="2013257" y="2286"/>
                </a:lnTo>
                <a:lnTo>
                  <a:pt x="1992635" y="14986"/>
                </a:lnTo>
                <a:lnTo>
                  <a:pt x="1981342" y="16891"/>
                </a:lnTo>
                <a:lnTo>
                  <a:pt x="2000886" y="16891"/>
                </a:lnTo>
                <a:lnTo>
                  <a:pt x="2015537" y="7874"/>
                </a:lnTo>
                <a:lnTo>
                  <a:pt x="2026831" y="5969"/>
                </a:lnTo>
                <a:lnTo>
                  <a:pt x="2046379" y="5969"/>
                </a:lnTo>
                <a:lnTo>
                  <a:pt x="2040418" y="2286"/>
                </a:lnTo>
                <a:lnTo>
                  <a:pt x="2026840" y="0"/>
                </a:lnTo>
                <a:close/>
              </a:path>
              <a:path w="2188845" h="22860">
                <a:moveTo>
                  <a:pt x="2117836" y="0"/>
                </a:moveTo>
                <a:lnTo>
                  <a:pt x="2104253" y="2286"/>
                </a:lnTo>
                <a:lnTo>
                  <a:pt x="2083630" y="14986"/>
                </a:lnTo>
                <a:lnTo>
                  <a:pt x="2072338" y="16891"/>
                </a:lnTo>
                <a:lnTo>
                  <a:pt x="2091882" y="16891"/>
                </a:lnTo>
                <a:lnTo>
                  <a:pt x="2106532" y="7874"/>
                </a:lnTo>
                <a:lnTo>
                  <a:pt x="2117826" y="5969"/>
                </a:lnTo>
                <a:lnTo>
                  <a:pt x="2137374" y="5969"/>
                </a:lnTo>
                <a:lnTo>
                  <a:pt x="2131414" y="2286"/>
                </a:lnTo>
                <a:lnTo>
                  <a:pt x="2117836" y="0"/>
                </a:lnTo>
                <a:close/>
              </a:path>
              <a:path w="2188845" h="22860">
                <a:moveTo>
                  <a:pt x="2183930" y="9271"/>
                </a:moveTo>
                <a:lnTo>
                  <a:pt x="2174631" y="14986"/>
                </a:lnTo>
                <a:lnTo>
                  <a:pt x="2163338" y="16891"/>
                </a:lnTo>
                <a:lnTo>
                  <a:pt x="2182874" y="16891"/>
                </a:lnTo>
                <a:lnTo>
                  <a:pt x="2188222" y="13589"/>
                </a:lnTo>
                <a:lnTo>
                  <a:pt x="2183930" y="9271"/>
                </a:lnTo>
                <a:close/>
              </a:path>
              <a:path w="2188845" h="22860">
                <a:moveTo>
                  <a:pt x="206898" y="0"/>
                </a:moveTo>
                <a:lnTo>
                  <a:pt x="193315" y="2286"/>
                </a:lnTo>
                <a:lnTo>
                  <a:pt x="172680" y="14986"/>
                </a:lnTo>
                <a:lnTo>
                  <a:pt x="161386" y="16764"/>
                </a:lnTo>
                <a:lnTo>
                  <a:pt x="181142" y="16764"/>
                </a:lnTo>
                <a:lnTo>
                  <a:pt x="195596" y="7874"/>
                </a:lnTo>
                <a:lnTo>
                  <a:pt x="206894" y="5969"/>
                </a:lnTo>
                <a:lnTo>
                  <a:pt x="226441" y="5969"/>
                </a:lnTo>
                <a:lnTo>
                  <a:pt x="220477" y="2286"/>
                </a:lnTo>
                <a:lnTo>
                  <a:pt x="206898" y="0"/>
                </a:lnTo>
                <a:close/>
              </a:path>
              <a:path w="2188845" h="22860">
                <a:moveTo>
                  <a:pt x="24896" y="0"/>
                </a:moveTo>
                <a:lnTo>
                  <a:pt x="11316" y="2286"/>
                </a:lnTo>
                <a:lnTo>
                  <a:pt x="0" y="9271"/>
                </a:lnTo>
                <a:lnTo>
                  <a:pt x="4292" y="13589"/>
                </a:lnTo>
                <a:lnTo>
                  <a:pt x="13599" y="7874"/>
                </a:lnTo>
                <a:lnTo>
                  <a:pt x="24896" y="5969"/>
                </a:lnTo>
                <a:lnTo>
                  <a:pt x="44437" y="5969"/>
                </a:lnTo>
                <a:lnTo>
                  <a:pt x="38474" y="2286"/>
                </a:lnTo>
                <a:lnTo>
                  <a:pt x="24896" y="0"/>
                </a:lnTo>
                <a:close/>
              </a:path>
            </a:pathLst>
          </a:custGeom>
          <a:solidFill>
            <a:srgbClr val="273F8F"/>
          </a:solidFill>
        </p:spPr>
        <p:txBody>
          <a:bodyPr wrap="square" lIns="0" tIns="0" rIns="0" bIns="0" rtlCol="0"/>
          <a:lstStyle/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15">
            <a:extLst>
              <a:ext uri="{FF2B5EF4-FFF2-40B4-BE49-F238E27FC236}">
                <a16:creationId xmlns:a16="http://schemas.microsoft.com/office/drawing/2014/main" id="{B8CD62C3-9855-4DEE-B4F7-BCC416EEB9D8}"/>
              </a:ext>
            </a:extLst>
          </p:cNvPr>
          <p:cNvSpPr/>
          <p:nvPr/>
        </p:nvSpPr>
        <p:spPr>
          <a:xfrm>
            <a:off x="3532258" y="3651870"/>
            <a:ext cx="2188845" cy="22860"/>
          </a:xfrm>
          <a:custGeom>
            <a:avLst/>
            <a:gdLst/>
            <a:ahLst/>
            <a:cxnLst/>
            <a:rect l="l" t="t" r="r" b="b"/>
            <a:pathLst>
              <a:path w="2188845" h="22860">
                <a:moveTo>
                  <a:pt x="44643" y="6096"/>
                </a:moveTo>
                <a:lnTo>
                  <a:pt x="24893" y="6096"/>
                </a:lnTo>
                <a:lnTo>
                  <a:pt x="36191" y="7874"/>
                </a:lnTo>
                <a:lnTo>
                  <a:pt x="56813" y="20574"/>
                </a:lnTo>
                <a:lnTo>
                  <a:pt x="70391" y="22860"/>
                </a:lnTo>
                <a:lnTo>
                  <a:pt x="83971" y="20574"/>
                </a:lnTo>
                <a:lnTo>
                  <a:pt x="89938" y="16891"/>
                </a:lnTo>
                <a:lnTo>
                  <a:pt x="70386" y="16891"/>
                </a:lnTo>
                <a:lnTo>
                  <a:pt x="59089" y="14986"/>
                </a:lnTo>
                <a:lnTo>
                  <a:pt x="44643" y="6096"/>
                </a:lnTo>
                <a:close/>
              </a:path>
              <a:path w="2188845" h="22860">
                <a:moveTo>
                  <a:pt x="135648" y="6096"/>
                </a:moveTo>
                <a:lnTo>
                  <a:pt x="115903" y="6096"/>
                </a:lnTo>
                <a:lnTo>
                  <a:pt x="127195" y="7874"/>
                </a:lnTo>
                <a:lnTo>
                  <a:pt x="147816" y="20574"/>
                </a:lnTo>
                <a:lnTo>
                  <a:pt x="161396" y="22860"/>
                </a:lnTo>
                <a:lnTo>
                  <a:pt x="174974" y="20574"/>
                </a:lnTo>
                <a:lnTo>
                  <a:pt x="180937" y="16891"/>
                </a:lnTo>
                <a:lnTo>
                  <a:pt x="161388" y="16891"/>
                </a:lnTo>
                <a:lnTo>
                  <a:pt x="150096" y="14986"/>
                </a:lnTo>
                <a:lnTo>
                  <a:pt x="135648" y="6096"/>
                </a:lnTo>
                <a:close/>
              </a:path>
              <a:path w="2188845" h="22860">
                <a:moveTo>
                  <a:pt x="226646" y="6096"/>
                </a:moveTo>
                <a:lnTo>
                  <a:pt x="206894" y="6096"/>
                </a:lnTo>
                <a:lnTo>
                  <a:pt x="218189" y="7874"/>
                </a:lnTo>
                <a:lnTo>
                  <a:pt x="238813" y="20574"/>
                </a:lnTo>
                <a:lnTo>
                  <a:pt x="252396" y="22860"/>
                </a:lnTo>
                <a:lnTo>
                  <a:pt x="265974" y="20574"/>
                </a:lnTo>
                <a:lnTo>
                  <a:pt x="271935" y="16891"/>
                </a:lnTo>
                <a:lnTo>
                  <a:pt x="252396" y="16891"/>
                </a:lnTo>
                <a:lnTo>
                  <a:pt x="241100" y="14986"/>
                </a:lnTo>
                <a:lnTo>
                  <a:pt x="226646" y="6096"/>
                </a:lnTo>
                <a:close/>
              </a:path>
              <a:path w="2188845" h="22860">
                <a:moveTo>
                  <a:pt x="317642" y="6096"/>
                </a:moveTo>
                <a:lnTo>
                  <a:pt x="297899" y="6096"/>
                </a:lnTo>
                <a:lnTo>
                  <a:pt x="309192" y="7874"/>
                </a:lnTo>
                <a:lnTo>
                  <a:pt x="329809" y="20574"/>
                </a:lnTo>
                <a:lnTo>
                  <a:pt x="343392" y="22860"/>
                </a:lnTo>
                <a:lnTo>
                  <a:pt x="356970" y="20574"/>
                </a:lnTo>
                <a:lnTo>
                  <a:pt x="362930" y="16891"/>
                </a:lnTo>
                <a:lnTo>
                  <a:pt x="343393" y="16891"/>
                </a:lnTo>
                <a:lnTo>
                  <a:pt x="332096" y="14986"/>
                </a:lnTo>
                <a:lnTo>
                  <a:pt x="317642" y="6096"/>
                </a:lnTo>
                <a:close/>
              </a:path>
              <a:path w="2188845" h="22860">
                <a:moveTo>
                  <a:pt x="408637" y="6096"/>
                </a:moveTo>
                <a:lnTo>
                  <a:pt x="388891" y="6096"/>
                </a:lnTo>
                <a:lnTo>
                  <a:pt x="400187" y="7874"/>
                </a:lnTo>
                <a:lnTo>
                  <a:pt x="420808" y="20574"/>
                </a:lnTo>
                <a:lnTo>
                  <a:pt x="434386" y="22860"/>
                </a:lnTo>
                <a:lnTo>
                  <a:pt x="447966" y="20574"/>
                </a:lnTo>
                <a:lnTo>
                  <a:pt x="453933" y="16891"/>
                </a:lnTo>
                <a:lnTo>
                  <a:pt x="434386" y="16891"/>
                </a:lnTo>
                <a:lnTo>
                  <a:pt x="423089" y="14986"/>
                </a:lnTo>
                <a:lnTo>
                  <a:pt x="408637" y="6096"/>
                </a:lnTo>
                <a:close/>
              </a:path>
              <a:path w="2188845" h="22860">
                <a:moveTo>
                  <a:pt x="499633" y="6096"/>
                </a:moveTo>
                <a:lnTo>
                  <a:pt x="479879" y="6096"/>
                </a:lnTo>
                <a:lnTo>
                  <a:pt x="491176" y="7874"/>
                </a:lnTo>
                <a:lnTo>
                  <a:pt x="511803" y="20574"/>
                </a:lnTo>
                <a:lnTo>
                  <a:pt x="525381" y="22860"/>
                </a:lnTo>
                <a:lnTo>
                  <a:pt x="538961" y="20574"/>
                </a:lnTo>
                <a:lnTo>
                  <a:pt x="544928" y="16891"/>
                </a:lnTo>
                <a:lnTo>
                  <a:pt x="525386" y="16891"/>
                </a:lnTo>
                <a:lnTo>
                  <a:pt x="514090" y="14986"/>
                </a:lnTo>
                <a:lnTo>
                  <a:pt x="499633" y="6096"/>
                </a:lnTo>
                <a:close/>
              </a:path>
              <a:path w="2188845" h="22860">
                <a:moveTo>
                  <a:pt x="590628" y="6096"/>
                </a:moveTo>
                <a:lnTo>
                  <a:pt x="570879" y="6096"/>
                </a:lnTo>
                <a:lnTo>
                  <a:pt x="582176" y="7874"/>
                </a:lnTo>
                <a:lnTo>
                  <a:pt x="602799" y="20574"/>
                </a:lnTo>
                <a:lnTo>
                  <a:pt x="616377" y="22860"/>
                </a:lnTo>
                <a:lnTo>
                  <a:pt x="629957" y="20574"/>
                </a:lnTo>
                <a:lnTo>
                  <a:pt x="635924" y="16891"/>
                </a:lnTo>
                <a:lnTo>
                  <a:pt x="616372" y="16891"/>
                </a:lnTo>
                <a:lnTo>
                  <a:pt x="605075" y="14986"/>
                </a:lnTo>
                <a:lnTo>
                  <a:pt x="590628" y="6096"/>
                </a:lnTo>
                <a:close/>
              </a:path>
              <a:path w="2188845" h="22860">
                <a:moveTo>
                  <a:pt x="681623" y="6096"/>
                </a:moveTo>
                <a:lnTo>
                  <a:pt x="661874" y="6096"/>
                </a:lnTo>
                <a:lnTo>
                  <a:pt x="673172" y="7874"/>
                </a:lnTo>
                <a:lnTo>
                  <a:pt x="693796" y="20574"/>
                </a:lnTo>
                <a:lnTo>
                  <a:pt x="707377" y="22860"/>
                </a:lnTo>
                <a:lnTo>
                  <a:pt x="720957" y="20574"/>
                </a:lnTo>
                <a:lnTo>
                  <a:pt x="726922" y="16891"/>
                </a:lnTo>
                <a:lnTo>
                  <a:pt x="707372" y="16891"/>
                </a:lnTo>
                <a:lnTo>
                  <a:pt x="696076" y="14986"/>
                </a:lnTo>
                <a:lnTo>
                  <a:pt x="681623" y="6096"/>
                </a:lnTo>
                <a:close/>
              </a:path>
              <a:path w="2188845" h="22860">
                <a:moveTo>
                  <a:pt x="772423" y="5969"/>
                </a:moveTo>
                <a:lnTo>
                  <a:pt x="752875" y="5969"/>
                </a:lnTo>
                <a:lnTo>
                  <a:pt x="764169" y="7874"/>
                </a:lnTo>
                <a:lnTo>
                  <a:pt x="784792" y="20574"/>
                </a:lnTo>
                <a:lnTo>
                  <a:pt x="798372" y="22860"/>
                </a:lnTo>
                <a:lnTo>
                  <a:pt x="811953" y="20574"/>
                </a:lnTo>
                <a:lnTo>
                  <a:pt x="817917" y="16891"/>
                </a:lnTo>
                <a:lnTo>
                  <a:pt x="798374" y="16891"/>
                </a:lnTo>
                <a:lnTo>
                  <a:pt x="787079" y="14986"/>
                </a:lnTo>
                <a:lnTo>
                  <a:pt x="772423" y="5969"/>
                </a:lnTo>
                <a:close/>
              </a:path>
              <a:path w="2188845" h="22860">
                <a:moveTo>
                  <a:pt x="863627" y="6096"/>
                </a:moveTo>
                <a:lnTo>
                  <a:pt x="843886" y="6096"/>
                </a:lnTo>
                <a:lnTo>
                  <a:pt x="855183" y="7874"/>
                </a:lnTo>
                <a:lnTo>
                  <a:pt x="875800" y="20574"/>
                </a:lnTo>
                <a:lnTo>
                  <a:pt x="889379" y="22860"/>
                </a:lnTo>
                <a:lnTo>
                  <a:pt x="902956" y="20574"/>
                </a:lnTo>
                <a:lnTo>
                  <a:pt x="908916" y="16891"/>
                </a:lnTo>
                <a:lnTo>
                  <a:pt x="889379" y="16891"/>
                </a:lnTo>
                <a:lnTo>
                  <a:pt x="878081" y="14986"/>
                </a:lnTo>
                <a:lnTo>
                  <a:pt x="863627" y="6096"/>
                </a:lnTo>
                <a:close/>
              </a:path>
              <a:path w="2188845" h="22860">
                <a:moveTo>
                  <a:pt x="954623" y="6096"/>
                </a:moveTo>
                <a:lnTo>
                  <a:pt x="934877" y="6096"/>
                </a:lnTo>
                <a:lnTo>
                  <a:pt x="946173" y="7874"/>
                </a:lnTo>
                <a:lnTo>
                  <a:pt x="966795" y="20574"/>
                </a:lnTo>
                <a:lnTo>
                  <a:pt x="980374" y="22860"/>
                </a:lnTo>
                <a:lnTo>
                  <a:pt x="993951" y="20574"/>
                </a:lnTo>
                <a:lnTo>
                  <a:pt x="999912" y="16891"/>
                </a:lnTo>
                <a:lnTo>
                  <a:pt x="980374" y="16891"/>
                </a:lnTo>
                <a:lnTo>
                  <a:pt x="969077" y="14986"/>
                </a:lnTo>
                <a:lnTo>
                  <a:pt x="954623" y="6096"/>
                </a:lnTo>
                <a:close/>
              </a:path>
              <a:path w="2188845" h="22860">
                <a:moveTo>
                  <a:pt x="1045619" y="6096"/>
                </a:moveTo>
                <a:lnTo>
                  <a:pt x="1025867" y="6096"/>
                </a:lnTo>
                <a:lnTo>
                  <a:pt x="1037166" y="7874"/>
                </a:lnTo>
                <a:lnTo>
                  <a:pt x="1057796" y="20574"/>
                </a:lnTo>
                <a:lnTo>
                  <a:pt x="1071375" y="22860"/>
                </a:lnTo>
                <a:lnTo>
                  <a:pt x="1084949" y="20574"/>
                </a:lnTo>
                <a:lnTo>
                  <a:pt x="1090908" y="16891"/>
                </a:lnTo>
                <a:lnTo>
                  <a:pt x="1071364" y="16891"/>
                </a:lnTo>
                <a:lnTo>
                  <a:pt x="1060070" y="14986"/>
                </a:lnTo>
                <a:lnTo>
                  <a:pt x="1045619" y="6096"/>
                </a:lnTo>
                <a:close/>
              </a:path>
              <a:path w="2188845" h="22860">
                <a:moveTo>
                  <a:pt x="1136635" y="6096"/>
                </a:moveTo>
                <a:lnTo>
                  <a:pt x="1116868" y="6096"/>
                </a:lnTo>
                <a:lnTo>
                  <a:pt x="1128167" y="8001"/>
                </a:lnTo>
                <a:lnTo>
                  <a:pt x="1137475" y="13589"/>
                </a:lnTo>
                <a:lnTo>
                  <a:pt x="1148779" y="20574"/>
                </a:lnTo>
                <a:lnTo>
                  <a:pt x="1162359" y="22860"/>
                </a:lnTo>
                <a:lnTo>
                  <a:pt x="1175946" y="20574"/>
                </a:lnTo>
                <a:lnTo>
                  <a:pt x="1181926" y="16891"/>
                </a:lnTo>
                <a:lnTo>
                  <a:pt x="1162369" y="16891"/>
                </a:lnTo>
                <a:lnTo>
                  <a:pt x="1151070" y="14986"/>
                </a:lnTo>
                <a:lnTo>
                  <a:pt x="1136635" y="6096"/>
                </a:lnTo>
                <a:close/>
              </a:path>
              <a:path w="2188845" h="22860">
                <a:moveTo>
                  <a:pt x="1227627" y="6096"/>
                </a:moveTo>
                <a:lnTo>
                  <a:pt x="1207857" y="6096"/>
                </a:lnTo>
                <a:lnTo>
                  <a:pt x="1219152" y="7874"/>
                </a:lnTo>
                <a:lnTo>
                  <a:pt x="1239777" y="20574"/>
                </a:lnTo>
                <a:lnTo>
                  <a:pt x="1253359" y="22860"/>
                </a:lnTo>
                <a:lnTo>
                  <a:pt x="1266947" y="20574"/>
                </a:lnTo>
                <a:lnTo>
                  <a:pt x="1272927" y="16891"/>
                </a:lnTo>
                <a:lnTo>
                  <a:pt x="1253364" y="16891"/>
                </a:lnTo>
                <a:lnTo>
                  <a:pt x="1242065" y="14986"/>
                </a:lnTo>
                <a:lnTo>
                  <a:pt x="1227627" y="6096"/>
                </a:lnTo>
                <a:close/>
              </a:path>
              <a:path w="2188845" h="22860">
                <a:moveTo>
                  <a:pt x="1318618" y="6096"/>
                </a:moveTo>
                <a:lnTo>
                  <a:pt x="1298862" y="6096"/>
                </a:lnTo>
                <a:lnTo>
                  <a:pt x="1310159" y="7874"/>
                </a:lnTo>
                <a:lnTo>
                  <a:pt x="1330772" y="20574"/>
                </a:lnTo>
                <a:lnTo>
                  <a:pt x="1344355" y="22860"/>
                </a:lnTo>
                <a:lnTo>
                  <a:pt x="1357942" y="20574"/>
                </a:lnTo>
                <a:lnTo>
                  <a:pt x="1363922" y="16891"/>
                </a:lnTo>
                <a:lnTo>
                  <a:pt x="1344364" y="16891"/>
                </a:lnTo>
                <a:lnTo>
                  <a:pt x="1333066" y="14986"/>
                </a:lnTo>
                <a:lnTo>
                  <a:pt x="1318618" y="6096"/>
                </a:lnTo>
                <a:close/>
              </a:path>
              <a:path w="2188845" h="22860">
                <a:moveTo>
                  <a:pt x="1409613" y="6096"/>
                </a:moveTo>
                <a:lnTo>
                  <a:pt x="1389857" y="6096"/>
                </a:lnTo>
                <a:lnTo>
                  <a:pt x="1401154" y="7874"/>
                </a:lnTo>
                <a:lnTo>
                  <a:pt x="1421778" y="20574"/>
                </a:lnTo>
                <a:lnTo>
                  <a:pt x="1435360" y="22860"/>
                </a:lnTo>
                <a:lnTo>
                  <a:pt x="1448941" y="20574"/>
                </a:lnTo>
                <a:lnTo>
                  <a:pt x="1454908" y="16891"/>
                </a:lnTo>
                <a:lnTo>
                  <a:pt x="1435360" y="16891"/>
                </a:lnTo>
                <a:lnTo>
                  <a:pt x="1424062" y="14986"/>
                </a:lnTo>
                <a:lnTo>
                  <a:pt x="1409613" y="6096"/>
                </a:lnTo>
                <a:close/>
              </a:path>
              <a:path w="2188845" h="22860">
                <a:moveTo>
                  <a:pt x="1500631" y="6096"/>
                </a:moveTo>
                <a:lnTo>
                  <a:pt x="1480864" y="6096"/>
                </a:lnTo>
                <a:lnTo>
                  <a:pt x="1492162" y="7874"/>
                </a:lnTo>
                <a:lnTo>
                  <a:pt x="1512774" y="20574"/>
                </a:lnTo>
                <a:lnTo>
                  <a:pt x="1526352" y="22860"/>
                </a:lnTo>
                <a:lnTo>
                  <a:pt x="1539935" y="20574"/>
                </a:lnTo>
                <a:lnTo>
                  <a:pt x="1545903" y="16891"/>
                </a:lnTo>
                <a:lnTo>
                  <a:pt x="1526352" y="16891"/>
                </a:lnTo>
                <a:lnTo>
                  <a:pt x="1515064" y="14986"/>
                </a:lnTo>
                <a:lnTo>
                  <a:pt x="1500631" y="6096"/>
                </a:lnTo>
                <a:close/>
              </a:path>
              <a:path w="2188845" h="22860">
                <a:moveTo>
                  <a:pt x="1591614" y="6096"/>
                </a:moveTo>
                <a:lnTo>
                  <a:pt x="1571859" y="6096"/>
                </a:lnTo>
                <a:lnTo>
                  <a:pt x="1583158" y="7874"/>
                </a:lnTo>
                <a:lnTo>
                  <a:pt x="1603762" y="20574"/>
                </a:lnTo>
                <a:lnTo>
                  <a:pt x="1617338" y="22860"/>
                </a:lnTo>
                <a:lnTo>
                  <a:pt x="1630924" y="20574"/>
                </a:lnTo>
                <a:lnTo>
                  <a:pt x="1636907" y="16891"/>
                </a:lnTo>
                <a:lnTo>
                  <a:pt x="1617357" y="16891"/>
                </a:lnTo>
                <a:lnTo>
                  <a:pt x="1606063" y="14986"/>
                </a:lnTo>
                <a:lnTo>
                  <a:pt x="1591614" y="6096"/>
                </a:lnTo>
                <a:close/>
              </a:path>
              <a:path w="2188845" h="22860">
                <a:moveTo>
                  <a:pt x="1682620" y="6096"/>
                </a:moveTo>
                <a:lnTo>
                  <a:pt x="1662855" y="6096"/>
                </a:lnTo>
                <a:lnTo>
                  <a:pt x="1674153" y="7874"/>
                </a:lnTo>
                <a:lnTo>
                  <a:pt x="1683461" y="13589"/>
                </a:lnTo>
                <a:lnTo>
                  <a:pt x="1688695" y="17653"/>
                </a:lnTo>
                <a:lnTo>
                  <a:pt x="1694778" y="20574"/>
                </a:lnTo>
                <a:lnTo>
                  <a:pt x="1701425" y="22352"/>
                </a:lnTo>
                <a:lnTo>
                  <a:pt x="1708353" y="22860"/>
                </a:lnTo>
                <a:lnTo>
                  <a:pt x="1715280" y="22352"/>
                </a:lnTo>
                <a:lnTo>
                  <a:pt x="1721926" y="20574"/>
                </a:lnTo>
                <a:lnTo>
                  <a:pt x="1728005" y="17653"/>
                </a:lnTo>
                <a:lnTo>
                  <a:pt x="1728985" y="16891"/>
                </a:lnTo>
                <a:lnTo>
                  <a:pt x="1708346" y="16891"/>
                </a:lnTo>
                <a:lnTo>
                  <a:pt x="1697057" y="14986"/>
                </a:lnTo>
                <a:lnTo>
                  <a:pt x="1682620" y="6096"/>
                </a:lnTo>
                <a:close/>
              </a:path>
              <a:path w="2188845" h="22860">
                <a:moveTo>
                  <a:pt x="1773597" y="6096"/>
                </a:moveTo>
                <a:lnTo>
                  <a:pt x="1753838" y="6096"/>
                </a:lnTo>
                <a:lnTo>
                  <a:pt x="1765136" y="8001"/>
                </a:lnTo>
                <a:lnTo>
                  <a:pt x="1774444" y="13589"/>
                </a:lnTo>
                <a:lnTo>
                  <a:pt x="1785762" y="20574"/>
                </a:lnTo>
                <a:lnTo>
                  <a:pt x="1799345" y="22860"/>
                </a:lnTo>
                <a:lnTo>
                  <a:pt x="1812923" y="20574"/>
                </a:lnTo>
                <a:lnTo>
                  <a:pt x="1818884" y="16891"/>
                </a:lnTo>
                <a:lnTo>
                  <a:pt x="1799345" y="16891"/>
                </a:lnTo>
                <a:lnTo>
                  <a:pt x="1788052" y="14986"/>
                </a:lnTo>
                <a:lnTo>
                  <a:pt x="1773597" y="6096"/>
                </a:lnTo>
                <a:close/>
              </a:path>
              <a:path w="2188845" h="22860">
                <a:moveTo>
                  <a:pt x="1864592" y="6096"/>
                </a:moveTo>
                <a:lnTo>
                  <a:pt x="1844833" y="6096"/>
                </a:lnTo>
                <a:lnTo>
                  <a:pt x="1856131" y="8001"/>
                </a:lnTo>
                <a:lnTo>
                  <a:pt x="1865439" y="13589"/>
                </a:lnTo>
                <a:lnTo>
                  <a:pt x="1876759" y="20574"/>
                </a:lnTo>
                <a:lnTo>
                  <a:pt x="1890347" y="22860"/>
                </a:lnTo>
                <a:lnTo>
                  <a:pt x="1903930" y="20574"/>
                </a:lnTo>
                <a:lnTo>
                  <a:pt x="1909891" y="16891"/>
                </a:lnTo>
                <a:lnTo>
                  <a:pt x="1890337" y="16891"/>
                </a:lnTo>
                <a:lnTo>
                  <a:pt x="1879039" y="14986"/>
                </a:lnTo>
                <a:lnTo>
                  <a:pt x="1864592" y="6096"/>
                </a:lnTo>
                <a:close/>
              </a:path>
              <a:path w="2188845" h="22860">
                <a:moveTo>
                  <a:pt x="1955589" y="6096"/>
                </a:moveTo>
                <a:lnTo>
                  <a:pt x="1935835" y="6096"/>
                </a:lnTo>
                <a:lnTo>
                  <a:pt x="1947129" y="7874"/>
                </a:lnTo>
                <a:lnTo>
                  <a:pt x="1967755" y="20574"/>
                </a:lnTo>
                <a:lnTo>
                  <a:pt x="1981342" y="22860"/>
                </a:lnTo>
                <a:lnTo>
                  <a:pt x="1994925" y="20574"/>
                </a:lnTo>
                <a:lnTo>
                  <a:pt x="2000886" y="16891"/>
                </a:lnTo>
                <a:lnTo>
                  <a:pt x="1981333" y="16891"/>
                </a:lnTo>
                <a:lnTo>
                  <a:pt x="1970035" y="14986"/>
                </a:lnTo>
                <a:lnTo>
                  <a:pt x="1955589" y="6096"/>
                </a:lnTo>
                <a:close/>
              </a:path>
              <a:path w="2188845" h="22860">
                <a:moveTo>
                  <a:pt x="2046584" y="6096"/>
                </a:moveTo>
                <a:lnTo>
                  <a:pt x="2026831" y="6096"/>
                </a:lnTo>
                <a:lnTo>
                  <a:pt x="2038124" y="7874"/>
                </a:lnTo>
                <a:lnTo>
                  <a:pt x="2058750" y="20574"/>
                </a:lnTo>
                <a:lnTo>
                  <a:pt x="2072338" y="22860"/>
                </a:lnTo>
                <a:lnTo>
                  <a:pt x="2085921" y="20574"/>
                </a:lnTo>
                <a:lnTo>
                  <a:pt x="2091882" y="16891"/>
                </a:lnTo>
                <a:lnTo>
                  <a:pt x="2072328" y="16891"/>
                </a:lnTo>
                <a:lnTo>
                  <a:pt x="2061030" y="14986"/>
                </a:lnTo>
                <a:lnTo>
                  <a:pt x="2046584" y="6096"/>
                </a:lnTo>
                <a:close/>
              </a:path>
              <a:path w="2188845" h="22860">
                <a:moveTo>
                  <a:pt x="2137580" y="6096"/>
                </a:moveTo>
                <a:lnTo>
                  <a:pt x="2117826" y="6096"/>
                </a:lnTo>
                <a:lnTo>
                  <a:pt x="2129120" y="7874"/>
                </a:lnTo>
                <a:lnTo>
                  <a:pt x="2149746" y="20574"/>
                </a:lnTo>
                <a:lnTo>
                  <a:pt x="2163333" y="22860"/>
                </a:lnTo>
                <a:lnTo>
                  <a:pt x="2176916" y="20574"/>
                </a:lnTo>
                <a:lnTo>
                  <a:pt x="2182877" y="16891"/>
                </a:lnTo>
                <a:lnTo>
                  <a:pt x="2163329" y="16891"/>
                </a:lnTo>
                <a:lnTo>
                  <a:pt x="2152027" y="14986"/>
                </a:lnTo>
                <a:lnTo>
                  <a:pt x="2137580" y="6096"/>
                </a:lnTo>
                <a:close/>
              </a:path>
              <a:path w="2188845" h="22860">
                <a:moveTo>
                  <a:pt x="115895" y="0"/>
                </a:moveTo>
                <a:lnTo>
                  <a:pt x="102317" y="2286"/>
                </a:lnTo>
                <a:lnTo>
                  <a:pt x="81687" y="14986"/>
                </a:lnTo>
                <a:lnTo>
                  <a:pt x="70386" y="16891"/>
                </a:lnTo>
                <a:lnTo>
                  <a:pt x="89938" y="16891"/>
                </a:lnTo>
                <a:lnTo>
                  <a:pt x="104606" y="7874"/>
                </a:lnTo>
                <a:lnTo>
                  <a:pt x="115903" y="6096"/>
                </a:lnTo>
                <a:lnTo>
                  <a:pt x="135648" y="6096"/>
                </a:lnTo>
                <a:lnTo>
                  <a:pt x="129475" y="2286"/>
                </a:lnTo>
                <a:lnTo>
                  <a:pt x="115895" y="0"/>
                </a:lnTo>
                <a:close/>
              </a:path>
              <a:path w="2188845" h="22860">
                <a:moveTo>
                  <a:pt x="206895" y="0"/>
                </a:moveTo>
                <a:lnTo>
                  <a:pt x="193315" y="2286"/>
                </a:lnTo>
                <a:lnTo>
                  <a:pt x="172685" y="14986"/>
                </a:lnTo>
                <a:lnTo>
                  <a:pt x="161388" y="16891"/>
                </a:lnTo>
                <a:lnTo>
                  <a:pt x="180937" y="16891"/>
                </a:lnTo>
                <a:lnTo>
                  <a:pt x="195596" y="7874"/>
                </a:lnTo>
                <a:lnTo>
                  <a:pt x="206894" y="6096"/>
                </a:lnTo>
                <a:lnTo>
                  <a:pt x="226646" y="6096"/>
                </a:lnTo>
                <a:lnTo>
                  <a:pt x="220476" y="2286"/>
                </a:lnTo>
                <a:lnTo>
                  <a:pt x="206895" y="0"/>
                </a:lnTo>
                <a:close/>
              </a:path>
              <a:path w="2188845" h="22860">
                <a:moveTo>
                  <a:pt x="297894" y="0"/>
                </a:moveTo>
                <a:lnTo>
                  <a:pt x="284310" y="2286"/>
                </a:lnTo>
                <a:lnTo>
                  <a:pt x="263688" y="14986"/>
                </a:lnTo>
                <a:lnTo>
                  <a:pt x="252396" y="16891"/>
                </a:lnTo>
                <a:lnTo>
                  <a:pt x="271935" y="16891"/>
                </a:lnTo>
                <a:lnTo>
                  <a:pt x="286599" y="7874"/>
                </a:lnTo>
                <a:lnTo>
                  <a:pt x="297899" y="6096"/>
                </a:lnTo>
                <a:lnTo>
                  <a:pt x="317642" y="6096"/>
                </a:lnTo>
                <a:lnTo>
                  <a:pt x="311473" y="2286"/>
                </a:lnTo>
                <a:lnTo>
                  <a:pt x="297894" y="0"/>
                </a:lnTo>
                <a:close/>
              </a:path>
              <a:path w="2188845" h="22860">
                <a:moveTo>
                  <a:pt x="388891" y="0"/>
                </a:moveTo>
                <a:lnTo>
                  <a:pt x="375311" y="2286"/>
                </a:lnTo>
                <a:lnTo>
                  <a:pt x="354688" y="14986"/>
                </a:lnTo>
                <a:lnTo>
                  <a:pt x="343393" y="16891"/>
                </a:lnTo>
                <a:lnTo>
                  <a:pt x="362930" y="16891"/>
                </a:lnTo>
                <a:lnTo>
                  <a:pt x="377593" y="7874"/>
                </a:lnTo>
                <a:lnTo>
                  <a:pt x="388891" y="6096"/>
                </a:lnTo>
                <a:lnTo>
                  <a:pt x="408637" y="6096"/>
                </a:lnTo>
                <a:lnTo>
                  <a:pt x="402469" y="2286"/>
                </a:lnTo>
                <a:lnTo>
                  <a:pt x="388891" y="0"/>
                </a:lnTo>
                <a:close/>
              </a:path>
              <a:path w="2188845" h="22860">
                <a:moveTo>
                  <a:pt x="479888" y="0"/>
                </a:moveTo>
                <a:lnTo>
                  <a:pt x="466312" y="2286"/>
                </a:lnTo>
                <a:lnTo>
                  <a:pt x="445684" y="14986"/>
                </a:lnTo>
                <a:lnTo>
                  <a:pt x="434386" y="16891"/>
                </a:lnTo>
                <a:lnTo>
                  <a:pt x="453933" y="16891"/>
                </a:lnTo>
                <a:lnTo>
                  <a:pt x="468586" y="7874"/>
                </a:lnTo>
                <a:lnTo>
                  <a:pt x="479879" y="6096"/>
                </a:lnTo>
                <a:lnTo>
                  <a:pt x="499633" y="6096"/>
                </a:lnTo>
                <a:lnTo>
                  <a:pt x="493464" y="2286"/>
                </a:lnTo>
                <a:lnTo>
                  <a:pt x="479888" y="0"/>
                </a:lnTo>
                <a:close/>
              </a:path>
              <a:path w="2188845" h="22860">
                <a:moveTo>
                  <a:pt x="570879" y="0"/>
                </a:moveTo>
                <a:lnTo>
                  <a:pt x="557302" y="2286"/>
                </a:lnTo>
                <a:lnTo>
                  <a:pt x="536681" y="14986"/>
                </a:lnTo>
                <a:lnTo>
                  <a:pt x="525386" y="16891"/>
                </a:lnTo>
                <a:lnTo>
                  <a:pt x="544928" y="16891"/>
                </a:lnTo>
                <a:lnTo>
                  <a:pt x="559584" y="7874"/>
                </a:lnTo>
                <a:lnTo>
                  <a:pt x="570879" y="6096"/>
                </a:lnTo>
                <a:lnTo>
                  <a:pt x="590628" y="6096"/>
                </a:lnTo>
                <a:lnTo>
                  <a:pt x="584458" y="2286"/>
                </a:lnTo>
                <a:lnTo>
                  <a:pt x="570879" y="0"/>
                </a:lnTo>
                <a:close/>
              </a:path>
              <a:path w="2188845" h="22860">
                <a:moveTo>
                  <a:pt x="661874" y="0"/>
                </a:moveTo>
                <a:lnTo>
                  <a:pt x="648297" y="2286"/>
                </a:lnTo>
                <a:lnTo>
                  <a:pt x="627673" y="14986"/>
                </a:lnTo>
                <a:lnTo>
                  <a:pt x="616372" y="16891"/>
                </a:lnTo>
                <a:lnTo>
                  <a:pt x="635924" y="16891"/>
                </a:lnTo>
                <a:lnTo>
                  <a:pt x="650579" y="7874"/>
                </a:lnTo>
                <a:lnTo>
                  <a:pt x="661874" y="6096"/>
                </a:lnTo>
                <a:lnTo>
                  <a:pt x="681623" y="6096"/>
                </a:lnTo>
                <a:lnTo>
                  <a:pt x="675454" y="2286"/>
                </a:lnTo>
                <a:lnTo>
                  <a:pt x="661874" y="0"/>
                </a:lnTo>
                <a:close/>
              </a:path>
              <a:path w="2188845" h="22860">
                <a:moveTo>
                  <a:pt x="752876" y="0"/>
                </a:moveTo>
                <a:lnTo>
                  <a:pt x="739298" y="2286"/>
                </a:lnTo>
                <a:lnTo>
                  <a:pt x="718670" y="14986"/>
                </a:lnTo>
                <a:lnTo>
                  <a:pt x="707372" y="16891"/>
                </a:lnTo>
                <a:lnTo>
                  <a:pt x="726922" y="16891"/>
                </a:lnTo>
                <a:lnTo>
                  <a:pt x="741580" y="7874"/>
                </a:lnTo>
                <a:lnTo>
                  <a:pt x="752875" y="5969"/>
                </a:lnTo>
                <a:lnTo>
                  <a:pt x="772423" y="5969"/>
                </a:lnTo>
                <a:lnTo>
                  <a:pt x="766456" y="2286"/>
                </a:lnTo>
                <a:lnTo>
                  <a:pt x="752876" y="0"/>
                </a:lnTo>
                <a:close/>
              </a:path>
              <a:path w="2188845" h="22860">
                <a:moveTo>
                  <a:pt x="843876" y="0"/>
                </a:moveTo>
                <a:lnTo>
                  <a:pt x="830296" y="2286"/>
                </a:lnTo>
                <a:lnTo>
                  <a:pt x="809672" y="14986"/>
                </a:lnTo>
                <a:lnTo>
                  <a:pt x="798374" y="16891"/>
                </a:lnTo>
                <a:lnTo>
                  <a:pt x="817917" y="16891"/>
                </a:lnTo>
                <a:lnTo>
                  <a:pt x="832585" y="7874"/>
                </a:lnTo>
                <a:lnTo>
                  <a:pt x="843886" y="6096"/>
                </a:lnTo>
                <a:lnTo>
                  <a:pt x="863627" y="6096"/>
                </a:lnTo>
                <a:lnTo>
                  <a:pt x="857457" y="2286"/>
                </a:lnTo>
                <a:lnTo>
                  <a:pt x="843876" y="0"/>
                </a:lnTo>
                <a:close/>
              </a:path>
              <a:path w="2188845" h="22860">
                <a:moveTo>
                  <a:pt x="934877" y="0"/>
                </a:moveTo>
                <a:lnTo>
                  <a:pt x="921297" y="2286"/>
                </a:lnTo>
                <a:lnTo>
                  <a:pt x="900674" y="14986"/>
                </a:lnTo>
                <a:lnTo>
                  <a:pt x="889379" y="16891"/>
                </a:lnTo>
                <a:lnTo>
                  <a:pt x="908916" y="16891"/>
                </a:lnTo>
                <a:lnTo>
                  <a:pt x="923578" y="7874"/>
                </a:lnTo>
                <a:lnTo>
                  <a:pt x="934877" y="6096"/>
                </a:lnTo>
                <a:lnTo>
                  <a:pt x="954623" y="6096"/>
                </a:lnTo>
                <a:lnTo>
                  <a:pt x="948454" y="2286"/>
                </a:lnTo>
                <a:lnTo>
                  <a:pt x="934877" y="0"/>
                </a:lnTo>
                <a:close/>
              </a:path>
              <a:path w="2188845" h="22860">
                <a:moveTo>
                  <a:pt x="1025872" y="0"/>
                </a:moveTo>
                <a:lnTo>
                  <a:pt x="1012292" y="2286"/>
                </a:lnTo>
                <a:lnTo>
                  <a:pt x="991670" y="14986"/>
                </a:lnTo>
                <a:lnTo>
                  <a:pt x="980374" y="16891"/>
                </a:lnTo>
                <a:lnTo>
                  <a:pt x="999912" y="16891"/>
                </a:lnTo>
                <a:lnTo>
                  <a:pt x="1014568" y="7874"/>
                </a:lnTo>
                <a:lnTo>
                  <a:pt x="1025867" y="6096"/>
                </a:lnTo>
                <a:lnTo>
                  <a:pt x="1045619" y="6096"/>
                </a:lnTo>
                <a:lnTo>
                  <a:pt x="1039450" y="2286"/>
                </a:lnTo>
                <a:lnTo>
                  <a:pt x="1025872" y="0"/>
                </a:lnTo>
                <a:close/>
              </a:path>
              <a:path w="2188845" h="22860">
                <a:moveTo>
                  <a:pt x="1116863" y="0"/>
                </a:moveTo>
                <a:lnTo>
                  <a:pt x="1103277" y="2286"/>
                </a:lnTo>
                <a:lnTo>
                  <a:pt x="1082654" y="14986"/>
                </a:lnTo>
                <a:lnTo>
                  <a:pt x="1071364" y="16891"/>
                </a:lnTo>
                <a:lnTo>
                  <a:pt x="1090908" y="16891"/>
                </a:lnTo>
                <a:lnTo>
                  <a:pt x="1096251" y="13589"/>
                </a:lnTo>
                <a:lnTo>
                  <a:pt x="1105566" y="8001"/>
                </a:lnTo>
                <a:lnTo>
                  <a:pt x="1116868" y="6096"/>
                </a:lnTo>
                <a:lnTo>
                  <a:pt x="1136635" y="6096"/>
                </a:lnTo>
                <a:lnTo>
                  <a:pt x="1130449" y="2286"/>
                </a:lnTo>
                <a:lnTo>
                  <a:pt x="1116863" y="0"/>
                </a:lnTo>
                <a:close/>
              </a:path>
              <a:path w="2188845" h="22860">
                <a:moveTo>
                  <a:pt x="1207857" y="0"/>
                </a:moveTo>
                <a:lnTo>
                  <a:pt x="1194282" y="2286"/>
                </a:lnTo>
                <a:lnTo>
                  <a:pt x="1173670" y="14986"/>
                </a:lnTo>
                <a:lnTo>
                  <a:pt x="1162369" y="16891"/>
                </a:lnTo>
                <a:lnTo>
                  <a:pt x="1181926" y="16891"/>
                </a:lnTo>
                <a:lnTo>
                  <a:pt x="1196568" y="7874"/>
                </a:lnTo>
                <a:lnTo>
                  <a:pt x="1207857" y="6096"/>
                </a:lnTo>
                <a:lnTo>
                  <a:pt x="1227627" y="6096"/>
                </a:lnTo>
                <a:lnTo>
                  <a:pt x="1221439" y="2286"/>
                </a:lnTo>
                <a:lnTo>
                  <a:pt x="1207857" y="0"/>
                </a:lnTo>
                <a:close/>
              </a:path>
              <a:path w="2188845" h="22860">
                <a:moveTo>
                  <a:pt x="1298838" y="0"/>
                </a:moveTo>
                <a:lnTo>
                  <a:pt x="1285265" y="2286"/>
                </a:lnTo>
                <a:lnTo>
                  <a:pt x="1264665" y="14986"/>
                </a:lnTo>
                <a:lnTo>
                  <a:pt x="1253364" y="16891"/>
                </a:lnTo>
                <a:lnTo>
                  <a:pt x="1272927" y="16891"/>
                </a:lnTo>
                <a:lnTo>
                  <a:pt x="1287567" y="7874"/>
                </a:lnTo>
                <a:lnTo>
                  <a:pt x="1298862" y="6096"/>
                </a:lnTo>
                <a:lnTo>
                  <a:pt x="1318618" y="6096"/>
                </a:lnTo>
                <a:lnTo>
                  <a:pt x="1312426" y="2286"/>
                </a:lnTo>
                <a:lnTo>
                  <a:pt x="1298838" y="0"/>
                </a:lnTo>
                <a:close/>
              </a:path>
              <a:path w="2188845" h="22860">
                <a:moveTo>
                  <a:pt x="1389834" y="0"/>
                </a:moveTo>
                <a:lnTo>
                  <a:pt x="1376260" y="2286"/>
                </a:lnTo>
                <a:lnTo>
                  <a:pt x="1355663" y="14986"/>
                </a:lnTo>
                <a:lnTo>
                  <a:pt x="1344364" y="16891"/>
                </a:lnTo>
                <a:lnTo>
                  <a:pt x="1363922" y="16891"/>
                </a:lnTo>
                <a:lnTo>
                  <a:pt x="1378563" y="7874"/>
                </a:lnTo>
                <a:lnTo>
                  <a:pt x="1389857" y="6096"/>
                </a:lnTo>
                <a:lnTo>
                  <a:pt x="1409613" y="6096"/>
                </a:lnTo>
                <a:lnTo>
                  <a:pt x="1403421" y="2286"/>
                </a:lnTo>
                <a:lnTo>
                  <a:pt x="1389834" y="0"/>
                </a:lnTo>
                <a:close/>
              </a:path>
              <a:path w="2188845" h="22860">
                <a:moveTo>
                  <a:pt x="1480864" y="0"/>
                </a:moveTo>
                <a:lnTo>
                  <a:pt x="1467282" y="2286"/>
                </a:lnTo>
                <a:lnTo>
                  <a:pt x="1446658" y="14986"/>
                </a:lnTo>
                <a:lnTo>
                  <a:pt x="1435360" y="16891"/>
                </a:lnTo>
                <a:lnTo>
                  <a:pt x="1454908" y="16891"/>
                </a:lnTo>
                <a:lnTo>
                  <a:pt x="1469566" y="7874"/>
                </a:lnTo>
                <a:lnTo>
                  <a:pt x="1480864" y="6096"/>
                </a:lnTo>
                <a:lnTo>
                  <a:pt x="1500631" y="6096"/>
                </a:lnTo>
                <a:lnTo>
                  <a:pt x="1494445" y="2286"/>
                </a:lnTo>
                <a:lnTo>
                  <a:pt x="1480864" y="0"/>
                </a:lnTo>
                <a:close/>
              </a:path>
              <a:path w="2188845" h="22860">
                <a:moveTo>
                  <a:pt x="1571859" y="0"/>
                </a:moveTo>
                <a:lnTo>
                  <a:pt x="1558278" y="2286"/>
                </a:lnTo>
                <a:lnTo>
                  <a:pt x="1537645" y="14986"/>
                </a:lnTo>
                <a:lnTo>
                  <a:pt x="1526352" y="16891"/>
                </a:lnTo>
                <a:lnTo>
                  <a:pt x="1545903" y="16891"/>
                </a:lnTo>
                <a:lnTo>
                  <a:pt x="1560561" y="7874"/>
                </a:lnTo>
                <a:lnTo>
                  <a:pt x="1571859" y="6096"/>
                </a:lnTo>
                <a:lnTo>
                  <a:pt x="1591614" y="6096"/>
                </a:lnTo>
                <a:lnTo>
                  <a:pt x="1585441" y="2286"/>
                </a:lnTo>
                <a:lnTo>
                  <a:pt x="1571859" y="0"/>
                </a:lnTo>
                <a:close/>
              </a:path>
              <a:path w="2188845" h="22860">
                <a:moveTo>
                  <a:pt x="1662845" y="0"/>
                </a:moveTo>
                <a:lnTo>
                  <a:pt x="1649263" y="2286"/>
                </a:lnTo>
                <a:lnTo>
                  <a:pt x="1628651" y="14986"/>
                </a:lnTo>
                <a:lnTo>
                  <a:pt x="1617357" y="16891"/>
                </a:lnTo>
                <a:lnTo>
                  <a:pt x="1636907" y="16891"/>
                </a:lnTo>
                <a:lnTo>
                  <a:pt x="1651557" y="7874"/>
                </a:lnTo>
                <a:lnTo>
                  <a:pt x="1662855" y="6096"/>
                </a:lnTo>
                <a:lnTo>
                  <a:pt x="1682620" y="6096"/>
                </a:lnTo>
                <a:lnTo>
                  <a:pt x="1676433" y="2286"/>
                </a:lnTo>
                <a:lnTo>
                  <a:pt x="1662845" y="0"/>
                </a:lnTo>
                <a:close/>
              </a:path>
              <a:path w="2188845" h="22860">
                <a:moveTo>
                  <a:pt x="1753847" y="0"/>
                </a:moveTo>
                <a:lnTo>
                  <a:pt x="1740260" y="2286"/>
                </a:lnTo>
                <a:lnTo>
                  <a:pt x="1719636" y="14986"/>
                </a:lnTo>
                <a:lnTo>
                  <a:pt x="1708346" y="16891"/>
                </a:lnTo>
                <a:lnTo>
                  <a:pt x="1728985" y="16891"/>
                </a:lnTo>
                <a:lnTo>
                  <a:pt x="1733232" y="13589"/>
                </a:lnTo>
                <a:lnTo>
                  <a:pt x="1742540" y="8001"/>
                </a:lnTo>
                <a:lnTo>
                  <a:pt x="1753838" y="6096"/>
                </a:lnTo>
                <a:lnTo>
                  <a:pt x="1773597" y="6096"/>
                </a:lnTo>
                <a:lnTo>
                  <a:pt x="1767430" y="2286"/>
                </a:lnTo>
                <a:lnTo>
                  <a:pt x="1753847" y="0"/>
                </a:lnTo>
                <a:close/>
              </a:path>
              <a:path w="2188845" h="22860">
                <a:moveTo>
                  <a:pt x="1844843" y="0"/>
                </a:moveTo>
                <a:lnTo>
                  <a:pt x="1831255" y="2286"/>
                </a:lnTo>
                <a:lnTo>
                  <a:pt x="1810633" y="14986"/>
                </a:lnTo>
                <a:lnTo>
                  <a:pt x="1799345" y="16891"/>
                </a:lnTo>
                <a:lnTo>
                  <a:pt x="1818884" y="16891"/>
                </a:lnTo>
                <a:lnTo>
                  <a:pt x="1824227" y="13589"/>
                </a:lnTo>
                <a:lnTo>
                  <a:pt x="1833535" y="8001"/>
                </a:lnTo>
                <a:lnTo>
                  <a:pt x="1844833" y="6096"/>
                </a:lnTo>
                <a:lnTo>
                  <a:pt x="1864592" y="6096"/>
                </a:lnTo>
                <a:lnTo>
                  <a:pt x="1858425" y="2286"/>
                </a:lnTo>
                <a:lnTo>
                  <a:pt x="1844843" y="0"/>
                </a:lnTo>
                <a:close/>
              </a:path>
              <a:path w="2188845" h="22860">
                <a:moveTo>
                  <a:pt x="1935845" y="0"/>
                </a:moveTo>
                <a:lnTo>
                  <a:pt x="1922262" y="2286"/>
                </a:lnTo>
                <a:lnTo>
                  <a:pt x="1901636" y="14986"/>
                </a:lnTo>
                <a:lnTo>
                  <a:pt x="1890337" y="16891"/>
                </a:lnTo>
                <a:lnTo>
                  <a:pt x="1909891" y="16891"/>
                </a:lnTo>
                <a:lnTo>
                  <a:pt x="1924541" y="7874"/>
                </a:lnTo>
                <a:lnTo>
                  <a:pt x="1935835" y="6096"/>
                </a:lnTo>
                <a:lnTo>
                  <a:pt x="1955589" y="6096"/>
                </a:lnTo>
                <a:lnTo>
                  <a:pt x="1949423" y="2286"/>
                </a:lnTo>
                <a:lnTo>
                  <a:pt x="1935845" y="0"/>
                </a:lnTo>
                <a:close/>
              </a:path>
              <a:path w="2188845" h="22860">
                <a:moveTo>
                  <a:pt x="2026840" y="0"/>
                </a:moveTo>
                <a:lnTo>
                  <a:pt x="2013257" y="2286"/>
                </a:lnTo>
                <a:lnTo>
                  <a:pt x="1992631" y="14986"/>
                </a:lnTo>
                <a:lnTo>
                  <a:pt x="1981333" y="16891"/>
                </a:lnTo>
                <a:lnTo>
                  <a:pt x="2000886" y="16891"/>
                </a:lnTo>
                <a:lnTo>
                  <a:pt x="2015537" y="7874"/>
                </a:lnTo>
                <a:lnTo>
                  <a:pt x="2026831" y="6096"/>
                </a:lnTo>
                <a:lnTo>
                  <a:pt x="2046584" y="6096"/>
                </a:lnTo>
                <a:lnTo>
                  <a:pt x="2040418" y="2286"/>
                </a:lnTo>
                <a:lnTo>
                  <a:pt x="2026840" y="0"/>
                </a:lnTo>
                <a:close/>
              </a:path>
              <a:path w="2188845" h="22860">
                <a:moveTo>
                  <a:pt x="2117836" y="0"/>
                </a:moveTo>
                <a:lnTo>
                  <a:pt x="2104253" y="2286"/>
                </a:lnTo>
                <a:lnTo>
                  <a:pt x="2083627" y="14986"/>
                </a:lnTo>
                <a:lnTo>
                  <a:pt x="2072328" y="16891"/>
                </a:lnTo>
                <a:lnTo>
                  <a:pt x="2091882" y="16891"/>
                </a:lnTo>
                <a:lnTo>
                  <a:pt x="2106532" y="7874"/>
                </a:lnTo>
                <a:lnTo>
                  <a:pt x="2117826" y="6096"/>
                </a:lnTo>
                <a:lnTo>
                  <a:pt x="2137580" y="6096"/>
                </a:lnTo>
                <a:lnTo>
                  <a:pt x="2131414" y="2286"/>
                </a:lnTo>
                <a:lnTo>
                  <a:pt x="2117836" y="0"/>
                </a:lnTo>
                <a:close/>
              </a:path>
              <a:path w="2188845" h="22860">
                <a:moveTo>
                  <a:pt x="2183930" y="9271"/>
                </a:moveTo>
                <a:lnTo>
                  <a:pt x="2174627" y="14986"/>
                </a:lnTo>
                <a:lnTo>
                  <a:pt x="2163329" y="16891"/>
                </a:lnTo>
                <a:lnTo>
                  <a:pt x="2182877" y="16891"/>
                </a:lnTo>
                <a:lnTo>
                  <a:pt x="2188222" y="13589"/>
                </a:lnTo>
                <a:lnTo>
                  <a:pt x="2183930" y="9271"/>
                </a:lnTo>
                <a:close/>
              </a:path>
              <a:path w="2188845" h="22860">
                <a:moveTo>
                  <a:pt x="24896" y="0"/>
                </a:moveTo>
                <a:lnTo>
                  <a:pt x="11316" y="2286"/>
                </a:lnTo>
                <a:lnTo>
                  <a:pt x="0" y="9271"/>
                </a:lnTo>
                <a:lnTo>
                  <a:pt x="4292" y="13589"/>
                </a:lnTo>
                <a:lnTo>
                  <a:pt x="13598" y="7874"/>
                </a:lnTo>
                <a:lnTo>
                  <a:pt x="24893" y="6096"/>
                </a:lnTo>
                <a:lnTo>
                  <a:pt x="44643" y="6096"/>
                </a:lnTo>
                <a:lnTo>
                  <a:pt x="38474" y="2286"/>
                </a:lnTo>
                <a:lnTo>
                  <a:pt x="24896" y="0"/>
                </a:lnTo>
                <a:close/>
              </a:path>
            </a:pathLst>
          </a:custGeom>
          <a:solidFill>
            <a:srgbClr val="273F8F"/>
          </a:solidFill>
        </p:spPr>
        <p:txBody>
          <a:bodyPr wrap="square" lIns="0" tIns="0" rIns="0" bIns="0" rtlCol="0"/>
          <a:lstStyle/>
          <a:p>
            <a:pPr marL="0" marR="0" lvl="0" indent="0" algn="l" defTabSz="848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3" name="Grupo 123">
            <a:extLst>
              <a:ext uri="{FF2B5EF4-FFF2-40B4-BE49-F238E27FC236}">
                <a16:creationId xmlns:a16="http://schemas.microsoft.com/office/drawing/2014/main" id="{53354BC0-5D9F-4564-B90D-7D11756B12CC}"/>
              </a:ext>
            </a:extLst>
          </p:cNvPr>
          <p:cNvGrpSpPr/>
          <p:nvPr/>
        </p:nvGrpSpPr>
        <p:grpSpPr>
          <a:xfrm>
            <a:off x="179512" y="2020377"/>
            <a:ext cx="3024336" cy="233666"/>
            <a:chOff x="1831439" y="873812"/>
            <a:chExt cx="5417783" cy="418589"/>
          </a:xfrm>
        </p:grpSpPr>
        <p:sp>
          <p:nvSpPr>
            <p:cNvPr id="24" name="CaixaDeTexto 23">
              <a:extLst>
                <a:ext uri="{FF2B5EF4-FFF2-40B4-BE49-F238E27FC236}">
                  <a16:creationId xmlns:a16="http://schemas.microsoft.com/office/drawing/2014/main" id="{3E291525-3115-47E6-BB61-8F5496B1D0A0}"/>
                </a:ext>
              </a:extLst>
            </p:cNvPr>
            <p:cNvSpPr txBox="1"/>
            <p:nvPr/>
          </p:nvSpPr>
          <p:spPr>
            <a:xfrm>
              <a:off x="3298114" y="878889"/>
              <a:ext cx="1288234" cy="4135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1300" b="1" spc="5">
                  <a:solidFill>
                    <a:srgbClr val="00A8AB"/>
                  </a:solidFill>
                  <a:latin typeface="Century Gothic"/>
                </a:defRPr>
              </a:lvl1pPr>
            </a:lstStyle>
            <a:p>
              <a:pPr marL="0" marR="0" lvl="0" indent="0" algn="l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5" normalizeH="0" baseline="0" noProof="0" dirty="0">
                  <a:ln>
                    <a:noFill/>
                  </a:ln>
                  <a:solidFill>
                    <a:srgbClr val="00A8AB"/>
                  </a:solidFill>
                  <a:effectLst/>
                  <a:uLnTx/>
                  <a:uFillTx/>
                  <a:latin typeface="Myriad Pro"/>
                  <a:ea typeface="+mn-ea"/>
                  <a:cs typeface="+mn-cs"/>
                </a:rPr>
                <a:t>21.44%</a:t>
              </a:r>
            </a:p>
          </p:txBody>
        </p:sp>
        <p:sp>
          <p:nvSpPr>
            <p:cNvPr id="25" name="CaixaDeTexto 24">
              <a:extLst>
                <a:ext uri="{FF2B5EF4-FFF2-40B4-BE49-F238E27FC236}">
                  <a16:creationId xmlns:a16="http://schemas.microsoft.com/office/drawing/2014/main" id="{7B982BFA-60DC-41A5-8261-81A9883C2758}"/>
                </a:ext>
              </a:extLst>
            </p:cNvPr>
            <p:cNvSpPr txBox="1"/>
            <p:nvPr/>
          </p:nvSpPr>
          <p:spPr>
            <a:xfrm>
              <a:off x="4813782" y="873812"/>
              <a:ext cx="1130564" cy="4135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>
                <a:defRPr sz="1300" b="1" spc="5">
                  <a:solidFill>
                    <a:srgbClr val="00A8AB"/>
                  </a:solidFill>
                  <a:latin typeface="Century Gothic"/>
                </a:defRPr>
              </a:lvl1pPr>
            </a:lstStyle>
            <a:p>
              <a:pPr marL="0" marR="0" lvl="0" indent="0" algn="l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5" normalizeH="0" baseline="0" noProof="0" dirty="0">
                  <a:ln>
                    <a:noFill/>
                  </a:ln>
                  <a:solidFill>
                    <a:srgbClr val="00A8AB"/>
                  </a:solidFill>
                  <a:effectLst/>
                  <a:uLnTx/>
                  <a:uFillTx/>
                  <a:latin typeface="Myriad Pro"/>
                  <a:ea typeface="+mn-ea"/>
                  <a:cs typeface="+mn-cs"/>
                </a:rPr>
                <a:t>6% </a:t>
              </a:r>
            </a:p>
          </p:txBody>
        </p:sp>
        <p:sp>
          <p:nvSpPr>
            <p:cNvPr id="26" name="CaixaDeTexto 25">
              <a:extLst>
                <a:ext uri="{FF2B5EF4-FFF2-40B4-BE49-F238E27FC236}">
                  <a16:creationId xmlns:a16="http://schemas.microsoft.com/office/drawing/2014/main" id="{32673607-0518-4C9B-9908-0DA29D7603C5}"/>
                </a:ext>
              </a:extLst>
            </p:cNvPr>
            <p:cNvSpPr txBox="1"/>
            <p:nvPr/>
          </p:nvSpPr>
          <p:spPr>
            <a:xfrm>
              <a:off x="6075030" y="877296"/>
              <a:ext cx="1174192" cy="4135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5" normalizeH="0" baseline="0" noProof="0" dirty="0">
                  <a:ln>
                    <a:noFill/>
                  </a:ln>
                  <a:solidFill>
                    <a:srgbClr val="00A8AB"/>
                  </a:solidFill>
                  <a:effectLst/>
                  <a:uLnTx/>
                  <a:uFillTx/>
                  <a:latin typeface="Myriad Pro"/>
                  <a:ea typeface="+mn-ea"/>
                  <a:cs typeface="+mn-cs"/>
                </a:rPr>
                <a:t>5,35%</a:t>
              </a:r>
            </a:p>
          </p:txBody>
        </p:sp>
        <p:sp>
          <p:nvSpPr>
            <p:cNvPr id="27" name="CaixaDeTexto 26">
              <a:extLst>
                <a:ext uri="{FF2B5EF4-FFF2-40B4-BE49-F238E27FC236}">
                  <a16:creationId xmlns:a16="http://schemas.microsoft.com/office/drawing/2014/main" id="{EE3EC831-D400-4F5D-AB55-F2C3342CA85A}"/>
                </a:ext>
              </a:extLst>
            </p:cNvPr>
            <p:cNvSpPr txBox="1"/>
            <p:nvPr/>
          </p:nvSpPr>
          <p:spPr>
            <a:xfrm>
              <a:off x="1831439" y="874502"/>
              <a:ext cx="1130564" cy="4135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900" b="1" i="0" u="none" strike="noStrike" kern="1200" cap="none" spc="5" normalizeH="0" baseline="0" noProof="0" dirty="0">
                  <a:ln>
                    <a:noFill/>
                  </a:ln>
                  <a:solidFill>
                    <a:srgbClr val="00A8AB"/>
                  </a:solidFill>
                  <a:effectLst/>
                  <a:uLnTx/>
                  <a:uFillTx/>
                  <a:latin typeface="Myriad Pro"/>
                  <a:ea typeface="+mn-ea"/>
                  <a:cs typeface="+mn-cs"/>
                </a:rPr>
                <a:t>67,21%</a:t>
              </a:r>
            </a:p>
          </p:txBody>
        </p:sp>
      </p:grpSp>
      <p:sp>
        <p:nvSpPr>
          <p:cNvPr id="43" name="object 6">
            <a:extLst>
              <a:ext uri="{FF2B5EF4-FFF2-40B4-BE49-F238E27FC236}">
                <a16:creationId xmlns:a16="http://schemas.microsoft.com/office/drawing/2014/main" id="{3B24BD19-7513-480A-8E06-5AA61AF982B4}"/>
              </a:ext>
            </a:extLst>
          </p:cNvPr>
          <p:cNvSpPr txBox="1"/>
          <p:nvPr/>
        </p:nvSpPr>
        <p:spPr>
          <a:xfrm>
            <a:off x="3532258" y="3071704"/>
            <a:ext cx="2647760" cy="507831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marR="0" lvl="0" indent="0" algn="l" defTabSz="848990" rtl="0" eaLnBrk="1" fontAlgn="auto" latinLnBrk="0" hangingPunct="1">
              <a:lnSpc>
                <a:spcPct val="100000"/>
              </a:lnSpc>
              <a:spcBef>
                <a:spcPts val="19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AIS DE 3.500</a:t>
            </a:r>
            <a:r>
              <a:rPr kumimoji="0" lang="pt-BR" sz="2000" b="1" i="0" u="none" strike="noStrike" kern="1200" cap="none" spc="-335" normalizeH="0" baseline="0" noProof="0" dirty="0">
                <a:ln>
                  <a:noFill/>
                </a:ln>
                <a:solidFill>
                  <a:srgbClr val="00A8AB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 </a:t>
            </a:r>
            <a:r>
              <a:rPr kumimoji="0" lang="pt-BR" sz="1200" b="1" i="0" u="none" strike="noStrike" kern="1200" cap="none" spc="-5" normalizeH="0" baseline="0" noProof="0" dirty="0">
                <a:ln>
                  <a:noFill/>
                </a:ln>
                <a:solidFill>
                  <a:srgbClr val="273F8F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COLABORADORES</a:t>
            </a:r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grpSp>
        <p:nvGrpSpPr>
          <p:cNvPr id="44" name="Agrupar 43">
            <a:extLst>
              <a:ext uri="{FF2B5EF4-FFF2-40B4-BE49-F238E27FC236}">
                <a16:creationId xmlns:a16="http://schemas.microsoft.com/office/drawing/2014/main" id="{74CC34EF-FEBF-480B-BA61-2A55CB4F8EEB}"/>
              </a:ext>
            </a:extLst>
          </p:cNvPr>
          <p:cNvGrpSpPr/>
          <p:nvPr/>
        </p:nvGrpSpPr>
        <p:grpSpPr>
          <a:xfrm>
            <a:off x="794971" y="3250134"/>
            <a:ext cx="1921622" cy="782561"/>
            <a:chOff x="1066202" y="2755849"/>
            <a:chExt cx="1921622" cy="782561"/>
          </a:xfrm>
        </p:grpSpPr>
        <p:sp>
          <p:nvSpPr>
            <p:cNvPr id="45" name="Retângulo 44">
              <a:extLst>
                <a:ext uri="{FF2B5EF4-FFF2-40B4-BE49-F238E27FC236}">
                  <a16:creationId xmlns:a16="http://schemas.microsoft.com/office/drawing/2014/main" id="{CA2A3366-2E8E-49F7-8C96-F8FDA54AD688}"/>
                </a:ext>
              </a:extLst>
            </p:cNvPr>
            <p:cNvSpPr/>
            <p:nvPr/>
          </p:nvSpPr>
          <p:spPr>
            <a:xfrm>
              <a:off x="1066202" y="2755849"/>
              <a:ext cx="1921622" cy="6079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6" name="Imagem 45">
              <a:extLst>
                <a:ext uri="{FF2B5EF4-FFF2-40B4-BE49-F238E27FC236}">
                  <a16:creationId xmlns:a16="http://schemas.microsoft.com/office/drawing/2014/main" id="{B30470C8-68D7-4925-AB41-F65B201295A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8027" y="2813791"/>
              <a:ext cx="1147957" cy="724619"/>
            </a:xfrm>
            <a:prstGeom prst="rect">
              <a:avLst/>
            </a:prstGeom>
          </p:spPr>
        </p:pic>
      </p:grpSp>
      <p:grpSp>
        <p:nvGrpSpPr>
          <p:cNvPr id="47" name="Grupo 15">
            <a:extLst>
              <a:ext uri="{FF2B5EF4-FFF2-40B4-BE49-F238E27FC236}">
                <a16:creationId xmlns:a16="http://schemas.microsoft.com/office/drawing/2014/main" id="{1BEDF815-91C0-4B04-94A3-823BCAC9152E}"/>
              </a:ext>
            </a:extLst>
          </p:cNvPr>
          <p:cNvGrpSpPr/>
          <p:nvPr/>
        </p:nvGrpSpPr>
        <p:grpSpPr>
          <a:xfrm>
            <a:off x="442158" y="2299223"/>
            <a:ext cx="2411778" cy="875604"/>
            <a:chOff x="2906518" y="2661351"/>
            <a:chExt cx="3177476" cy="1153593"/>
          </a:xfrm>
        </p:grpSpPr>
        <p:cxnSp>
          <p:nvCxnSpPr>
            <p:cNvPr id="48" name="Conector reto 47">
              <a:extLst>
                <a:ext uri="{FF2B5EF4-FFF2-40B4-BE49-F238E27FC236}">
                  <a16:creationId xmlns:a16="http://schemas.microsoft.com/office/drawing/2014/main" id="{1C27E232-AE58-4D33-9FA6-3892B9F4A820}"/>
                </a:ext>
              </a:extLst>
            </p:cNvPr>
            <p:cNvCxnSpPr/>
            <p:nvPr/>
          </p:nvCxnSpPr>
          <p:spPr>
            <a:xfrm flipV="1">
              <a:off x="2906519" y="3341893"/>
              <a:ext cx="3177475" cy="15921"/>
            </a:xfrm>
            <a:prstGeom prst="line">
              <a:avLst/>
            </a:prstGeom>
            <a:ln w="19050">
              <a:solidFill>
                <a:srgbClr val="253F93"/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to 48">
              <a:extLst>
                <a:ext uri="{FF2B5EF4-FFF2-40B4-BE49-F238E27FC236}">
                  <a16:creationId xmlns:a16="http://schemas.microsoft.com/office/drawing/2014/main" id="{F1E4F327-C084-4F22-A497-CCADFE81F535}"/>
                </a:ext>
              </a:extLst>
            </p:cNvPr>
            <p:cNvCxnSpPr/>
            <p:nvPr/>
          </p:nvCxnSpPr>
          <p:spPr>
            <a:xfrm flipV="1">
              <a:off x="2906518" y="2673814"/>
              <a:ext cx="0" cy="684000"/>
            </a:xfrm>
            <a:prstGeom prst="line">
              <a:avLst/>
            </a:prstGeom>
            <a:ln w="19050">
              <a:solidFill>
                <a:srgbClr val="253F93"/>
              </a:solidFill>
              <a:prstDash val="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ector reto 49">
              <a:extLst>
                <a:ext uri="{FF2B5EF4-FFF2-40B4-BE49-F238E27FC236}">
                  <a16:creationId xmlns:a16="http://schemas.microsoft.com/office/drawing/2014/main" id="{69409163-9355-4304-9E53-737A269BEC18}"/>
                </a:ext>
              </a:extLst>
            </p:cNvPr>
            <p:cNvCxnSpPr/>
            <p:nvPr/>
          </p:nvCxnSpPr>
          <p:spPr>
            <a:xfrm flipV="1">
              <a:off x="3943658" y="2673814"/>
              <a:ext cx="0" cy="684000"/>
            </a:xfrm>
            <a:prstGeom prst="line">
              <a:avLst/>
            </a:prstGeom>
            <a:ln w="19050">
              <a:solidFill>
                <a:srgbClr val="253F93"/>
              </a:solidFill>
              <a:prstDash val="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ector reto 50">
              <a:extLst>
                <a:ext uri="{FF2B5EF4-FFF2-40B4-BE49-F238E27FC236}">
                  <a16:creationId xmlns:a16="http://schemas.microsoft.com/office/drawing/2014/main" id="{75113645-54CB-42F7-A5E7-B5AC93BB0711}"/>
                </a:ext>
              </a:extLst>
            </p:cNvPr>
            <p:cNvCxnSpPr/>
            <p:nvPr/>
          </p:nvCxnSpPr>
          <p:spPr>
            <a:xfrm flipV="1">
              <a:off x="5023778" y="2673814"/>
              <a:ext cx="0" cy="684000"/>
            </a:xfrm>
            <a:prstGeom prst="line">
              <a:avLst/>
            </a:prstGeom>
            <a:ln w="19050">
              <a:solidFill>
                <a:srgbClr val="253F93"/>
              </a:solidFill>
              <a:prstDash val="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ector reto 51">
              <a:extLst>
                <a:ext uri="{FF2B5EF4-FFF2-40B4-BE49-F238E27FC236}">
                  <a16:creationId xmlns:a16="http://schemas.microsoft.com/office/drawing/2014/main" id="{9C28B8DA-F951-4622-B6DB-92FD23469C3A}"/>
                </a:ext>
              </a:extLst>
            </p:cNvPr>
            <p:cNvCxnSpPr/>
            <p:nvPr/>
          </p:nvCxnSpPr>
          <p:spPr>
            <a:xfrm flipV="1">
              <a:off x="6083994" y="2661351"/>
              <a:ext cx="0" cy="684000"/>
            </a:xfrm>
            <a:prstGeom prst="line">
              <a:avLst/>
            </a:prstGeom>
            <a:ln w="19050">
              <a:solidFill>
                <a:srgbClr val="253F93"/>
              </a:solidFill>
              <a:prstDash val="dash"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ector reto 52">
              <a:extLst>
                <a:ext uri="{FF2B5EF4-FFF2-40B4-BE49-F238E27FC236}">
                  <a16:creationId xmlns:a16="http://schemas.microsoft.com/office/drawing/2014/main" id="{6A9543FD-3966-4692-A7A7-D576BA5542A5}"/>
                </a:ext>
              </a:extLst>
            </p:cNvPr>
            <p:cNvCxnSpPr/>
            <p:nvPr/>
          </p:nvCxnSpPr>
          <p:spPr>
            <a:xfrm flipV="1">
              <a:off x="4447714" y="3346944"/>
              <a:ext cx="0" cy="468000"/>
            </a:xfrm>
            <a:prstGeom prst="line">
              <a:avLst/>
            </a:prstGeom>
            <a:ln w="19050">
              <a:solidFill>
                <a:srgbClr val="253F93"/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4" name="Picture 6" descr="Resultado de imagem para Equipav - logo">
            <a:extLst>
              <a:ext uri="{FF2B5EF4-FFF2-40B4-BE49-F238E27FC236}">
                <a16:creationId xmlns:a16="http://schemas.microsoft.com/office/drawing/2014/main" id="{B468CBC1-12AD-49B6-8B86-11EF3027C7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55" y="1708711"/>
            <a:ext cx="546239" cy="185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8" descr="Resultado de imagem para GIC - logo">
            <a:extLst>
              <a:ext uri="{FF2B5EF4-FFF2-40B4-BE49-F238E27FC236}">
                <a16:creationId xmlns:a16="http://schemas.microsoft.com/office/drawing/2014/main" id="{175723C5-6EC1-47A8-8342-14BC363DA3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1" t="15067" r="11155" b="11883"/>
          <a:stretch/>
        </p:blipFill>
        <p:spPr bwMode="auto">
          <a:xfrm>
            <a:off x="1084601" y="1673470"/>
            <a:ext cx="449632" cy="210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http://www.africainvestor.com/wp-content/uploads/2018/03/IFC-logo.png">
            <a:extLst>
              <a:ext uri="{FF2B5EF4-FFF2-40B4-BE49-F238E27FC236}">
                <a16:creationId xmlns:a16="http://schemas.microsoft.com/office/drawing/2014/main" id="{C14A5FF2-D260-4BCE-9CEB-C816088905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21" t="7367" r="9016" b="17679"/>
          <a:stretch/>
        </p:blipFill>
        <p:spPr bwMode="auto">
          <a:xfrm>
            <a:off x="1910270" y="1662263"/>
            <a:ext cx="364224" cy="298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 descr="https://encrypted-tbn0.gstatic.com/images?q=tbn:ANd9GcS-ccjs6BB82N645cgjYAgTihlhYONbcBGLAI-ofrPxqf01GbxN6A">
            <a:extLst>
              <a:ext uri="{FF2B5EF4-FFF2-40B4-BE49-F238E27FC236}">
                <a16:creationId xmlns:a16="http://schemas.microsoft.com/office/drawing/2014/main" id="{57FD9681-4104-4068-BB33-E10DFEAA4A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9" t="5559" r="8366" b="11595"/>
          <a:stretch/>
        </p:blipFill>
        <p:spPr bwMode="auto">
          <a:xfrm>
            <a:off x="2716593" y="1673470"/>
            <a:ext cx="432166" cy="298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upo 1"/>
          <p:cNvGrpSpPr/>
          <p:nvPr/>
        </p:nvGrpSpPr>
        <p:grpSpPr>
          <a:xfrm>
            <a:off x="5796136" y="610717"/>
            <a:ext cx="3230104" cy="3247406"/>
            <a:chOff x="4835714" y="386867"/>
            <a:chExt cx="4338927" cy="4362169"/>
          </a:xfrm>
        </p:grpSpPr>
        <p:pic>
          <p:nvPicPr>
            <p:cNvPr id="59" name="Picture 2" descr="D:\Users\raphael.ono\Desktop\Arquivos Aegea\Criação\brazil 12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5714" y="386867"/>
              <a:ext cx="4338927" cy="43621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9" name="Elipse 78"/>
            <p:cNvSpPr/>
            <p:nvPr/>
          </p:nvSpPr>
          <p:spPr>
            <a:xfrm>
              <a:off x="6730358" y="2382382"/>
              <a:ext cx="158897" cy="150894"/>
            </a:xfrm>
            <a:prstGeom prst="ellipse">
              <a:avLst/>
            </a:prstGeom>
            <a:solidFill>
              <a:srgbClr val="CDC800"/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Elipse 79"/>
            <p:cNvSpPr/>
            <p:nvPr/>
          </p:nvSpPr>
          <p:spPr>
            <a:xfrm>
              <a:off x="5940690" y="2114158"/>
              <a:ext cx="158897" cy="15089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Elipse 80"/>
            <p:cNvSpPr/>
            <p:nvPr/>
          </p:nvSpPr>
          <p:spPr>
            <a:xfrm>
              <a:off x="6889255" y="3160889"/>
              <a:ext cx="158897" cy="150894"/>
            </a:xfrm>
            <a:prstGeom prst="ellipse">
              <a:avLst/>
            </a:prstGeom>
            <a:solidFill>
              <a:srgbClr val="BA2025"/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Elipse 81"/>
            <p:cNvSpPr/>
            <p:nvPr/>
          </p:nvSpPr>
          <p:spPr>
            <a:xfrm>
              <a:off x="8234729" y="3375156"/>
              <a:ext cx="158897" cy="150894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Elipse 82"/>
            <p:cNvSpPr/>
            <p:nvPr/>
          </p:nvSpPr>
          <p:spPr>
            <a:xfrm>
              <a:off x="8449295" y="3074245"/>
              <a:ext cx="158897" cy="150894"/>
            </a:xfrm>
            <a:prstGeom prst="ellipse">
              <a:avLst/>
            </a:prstGeom>
            <a:solidFill>
              <a:schemeClr val="bg2">
                <a:lumMod val="10000"/>
              </a:schemeClr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4" name="Elipse 83"/>
            <p:cNvSpPr/>
            <p:nvPr/>
          </p:nvSpPr>
          <p:spPr>
            <a:xfrm>
              <a:off x="7615606" y="3444979"/>
              <a:ext cx="158897" cy="150894"/>
            </a:xfrm>
            <a:prstGeom prst="ellipse">
              <a:avLst/>
            </a:prstGeom>
            <a:solidFill>
              <a:srgbClr val="DC7528"/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5" name="Elipse 84"/>
            <p:cNvSpPr/>
            <p:nvPr/>
          </p:nvSpPr>
          <p:spPr>
            <a:xfrm>
              <a:off x="7409084" y="3922570"/>
              <a:ext cx="158897" cy="150894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Elipse 85"/>
            <p:cNvSpPr/>
            <p:nvPr/>
          </p:nvSpPr>
          <p:spPr>
            <a:xfrm>
              <a:off x="7070599" y="1535691"/>
              <a:ext cx="158897" cy="150894"/>
            </a:xfrm>
            <a:prstGeom prst="ellipse">
              <a:avLst/>
            </a:prstGeom>
            <a:solidFill>
              <a:srgbClr val="FFC000"/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Elipse 86"/>
            <p:cNvSpPr/>
            <p:nvPr/>
          </p:nvSpPr>
          <p:spPr>
            <a:xfrm>
              <a:off x="7942201" y="1487441"/>
              <a:ext cx="158897" cy="150894"/>
            </a:xfrm>
            <a:prstGeom prst="ellipse">
              <a:avLst/>
            </a:prstGeom>
            <a:solidFill>
              <a:srgbClr val="92D050"/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Elipse 87"/>
            <p:cNvSpPr/>
            <p:nvPr/>
          </p:nvSpPr>
          <p:spPr>
            <a:xfrm>
              <a:off x="8234729" y="1786369"/>
              <a:ext cx="158897" cy="150894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Elipse 88"/>
            <p:cNvSpPr/>
            <p:nvPr/>
          </p:nvSpPr>
          <p:spPr>
            <a:xfrm>
              <a:off x="5918826" y="1332912"/>
              <a:ext cx="158897" cy="150894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489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t-BR" sz="17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682251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Papier2">
            <a:extLst>
              <a:ext uri="{FF2B5EF4-FFF2-40B4-BE49-F238E27FC236}">
                <a16:creationId xmlns:a16="http://schemas.microsoft.com/office/drawing/2014/main" id="{2528DDCE-B468-4B34-A26D-1B48FCDD40C0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6" r="2007" b="3310"/>
          <a:stretch>
            <a:fillRect/>
          </a:stretch>
        </p:blipFill>
        <p:spPr bwMode="auto">
          <a:xfrm>
            <a:off x="121444" y="1635646"/>
            <a:ext cx="8901112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DC326ACD-96B6-47CC-904F-CD4801BC0CA6}"/>
              </a:ext>
            </a:extLst>
          </p:cNvPr>
          <p:cNvSpPr/>
          <p:nvPr/>
        </p:nvSpPr>
        <p:spPr>
          <a:xfrm>
            <a:off x="611560" y="1934623"/>
            <a:ext cx="7920880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000000"/>
                </a:solidFill>
                <a:latin typeface="Myriad Pro"/>
              </a:rPr>
              <a:t>“</a:t>
            </a:r>
            <a:r>
              <a:rPr lang="pt-BR" dirty="0">
                <a:latin typeface="Myriad Pro"/>
                <a:hlinkClick r:id="rId4"/>
              </a:rPr>
              <a:t>Art. 10-B. </a:t>
            </a:r>
            <a:r>
              <a:rPr lang="pt-BR" dirty="0">
                <a:solidFill>
                  <a:srgbClr val="000000"/>
                </a:solidFill>
                <a:latin typeface="Myriad Pro"/>
              </a:rPr>
              <a:t> Sem prejuízo do disposto nesta Lei e na </a:t>
            </a:r>
            <a:r>
              <a:rPr lang="pt-BR" dirty="0">
                <a:latin typeface="Myriad Pro"/>
                <a:hlinkClick r:id="rId5"/>
              </a:rPr>
              <a:t>Lei nº 11.107, de 2005</a:t>
            </a:r>
            <a:r>
              <a:rPr lang="pt-BR" dirty="0">
                <a:solidFill>
                  <a:srgbClr val="000000"/>
                </a:solidFill>
                <a:latin typeface="Myriad Pro"/>
              </a:rPr>
              <a:t>, as cláusulas essenciais do contrato de concessão, estabelecidas nos </a:t>
            </a:r>
            <a:r>
              <a:rPr lang="pt-BR" dirty="0">
                <a:latin typeface="Myriad Pro"/>
                <a:hlinkClick r:id="rId6"/>
              </a:rPr>
              <a:t>art. 23</a:t>
            </a:r>
            <a:r>
              <a:rPr lang="pt-BR" dirty="0">
                <a:solidFill>
                  <a:srgbClr val="000000"/>
                </a:solidFill>
                <a:latin typeface="Myriad Pro"/>
              </a:rPr>
              <a:t> e </a:t>
            </a:r>
            <a:r>
              <a:rPr lang="pt-BR" dirty="0">
                <a:latin typeface="Myriad Pro"/>
                <a:hlinkClick r:id="rId7"/>
              </a:rPr>
              <a:t>art. 23-A da Lei nº 8.987, de 1995</a:t>
            </a:r>
            <a:r>
              <a:rPr lang="pt-BR" dirty="0">
                <a:solidFill>
                  <a:srgbClr val="000000"/>
                </a:solidFill>
                <a:latin typeface="Myriad Pro"/>
              </a:rPr>
              <a:t>, serão reproduzidas nos contratos de programa para prestação de serviços de saneamento básico, exceto na hipótese de absoluta incompatibilidade devidamente motivada pelo titular do serviço público.” (NR)</a:t>
            </a:r>
            <a:endParaRPr lang="pt-BR" dirty="0">
              <a:latin typeface="Myriad Pro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51A46535-06A3-476F-8424-878336012442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algn="ctr" defTabSz="914400">
              <a:spcBef>
                <a:spcPct val="0"/>
              </a:spcBef>
              <a:buNone/>
              <a:defRPr sz="1600" b="1">
                <a:solidFill>
                  <a:srgbClr val="253F93"/>
                </a:solidFill>
                <a:latin typeface="Myriad Pro"/>
                <a:ea typeface="+mj-ea"/>
                <a:cs typeface="+mj-cs"/>
              </a:defRPr>
            </a:lvl1pPr>
          </a:lstStyle>
          <a:p>
            <a:r>
              <a:rPr lang="pt-BR" dirty="0"/>
              <a:t>Cláusula Fundamental Medida Provisória 844</a:t>
            </a:r>
          </a:p>
        </p:txBody>
      </p:sp>
    </p:spTree>
    <p:extLst>
      <p:ext uri="{BB962C8B-B14F-4D97-AF65-F5344CB8AC3E}">
        <p14:creationId xmlns:p14="http://schemas.microsoft.com/office/powerpoint/2010/main" val="25434540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91978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53943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Resultado de imagem para EMPURRAR">
            <a:extLst>
              <a:ext uri="{FF2B5EF4-FFF2-40B4-BE49-F238E27FC236}">
                <a16:creationId xmlns:a16="http://schemas.microsoft.com/office/drawing/2014/main" id="{A06447B5-AC06-4139-816F-4F8F61B3E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01" b="16401"/>
          <a:stretch/>
        </p:blipFill>
        <p:spPr bwMode="auto">
          <a:xfrm>
            <a:off x="-4922" y="2205037"/>
            <a:ext cx="1479367" cy="137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F44351FB-B470-4C49-8B5A-E3976402966C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algn="ctr" defTabSz="914400">
              <a:spcBef>
                <a:spcPct val="0"/>
              </a:spcBef>
              <a:buNone/>
              <a:defRPr sz="1600" b="1">
                <a:solidFill>
                  <a:srgbClr val="253F93"/>
                </a:solidFill>
                <a:latin typeface="Myriad Pro"/>
                <a:ea typeface="+mj-ea"/>
                <a:cs typeface="+mj-cs"/>
              </a:defRPr>
            </a:lvl1pPr>
          </a:lstStyle>
          <a:p>
            <a:r>
              <a:rPr lang="pt-BR" dirty="0"/>
              <a:t>Saneamento está diretamente ligado ao desenvolvimento do país</a:t>
            </a:r>
          </a:p>
        </p:txBody>
      </p:sp>
      <p:pic>
        <p:nvPicPr>
          <p:cNvPr id="1026" name="Picture 2" descr="Resultado de imagem para puzzle">
            <a:extLst>
              <a:ext uri="{FF2B5EF4-FFF2-40B4-BE49-F238E27FC236}">
                <a16:creationId xmlns:a16="http://schemas.microsoft.com/office/drawing/2014/main" id="{3B5C1C68-994C-4E1C-A8D3-241A3D9793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"/>
          <a:stretch/>
        </p:blipFill>
        <p:spPr bwMode="auto">
          <a:xfrm>
            <a:off x="1433242" y="1555116"/>
            <a:ext cx="2612253" cy="208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1A92C20C-11F7-45F7-BA69-C718842DA8F8}"/>
              </a:ext>
            </a:extLst>
          </p:cNvPr>
          <p:cNvSpPr txBox="1"/>
          <p:nvPr/>
        </p:nvSpPr>
        <p:spPr>
          <a:xfrm>
            <a:off x="2132112" y="2335693"/>
            <a:ext cx="1935832" cy="3452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250" b="1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NEAMENTO</a:t>
            </a:r>
            <a:endParaRPr lang="pt-BR" sz="1250" b="1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15" name="Picture 2" descr="Resultado de imagem para puzzle">
            <a:extLst>
              <a:ext uri="{FF2B5EF4-FFF2-40B4-BE49-F238E27FC236}">
                <a16:creationId xmlns:a16="http://schemas.microsoft.com/office/drawing/2014/main" id="{F83715B5-5BF9-4280-B96F-C8B07C01C8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297" y="164636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esultado de imagem para puzzle">
            <a:extLst>
              <a:ext uri="{FF2B5EF4-FFF2-40B4-BE49-F238E27FC236}">
                <a16:creationId xmlns:a16="http://schemas.microsoft.com/office/drawing/2014/main" id="{2C4CAB72-0B9E-412B-8A27-D461979B6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0717" y="2423211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Resultado de imagem para puzzle">
            <a:extLst>
              <a:ext uri="{FF2B5EF4-FFF2-40B4-BE49-F238E27FC236}">
                <a16:creationId xmlns:a16="http://schemas.microsoft.com/office/drawing/2014/main" id="{63C5D871-42B2-495B-8711-9CBA4C4856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489" y="1104208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Resultado de imagem para puzzle">
            <a:extLst>
              <a:ext uri="{FF2B5EF4-FFF2-40B4-BE49-F238E27FC236}">
                <a16:creationId xmlns:a16="http://schemas.microsoft.com/office/drawing/2014/main" id="{1134C6D2-2A1E-4661-9F9C-2BF3B95FB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986" y="332020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C265C6F1-4D42-416F-8F1E-EF253EA67D6E}"/>
              </a:ext>
            </a:extLst>
          </p:cNvPr>
          <p:cNvSpPr txBox="1"/>
          <p:nvPr/>
        </p:nvSpPr>
        <p:spPr>
          <a:xfrm>
            <a:off x="4665034" y="2039503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PRODUTIVIDA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63FA14E-7742-4F0A-B3D9-A67C709D8808}"/>
              </a:ext>
            </a:extLst>
          </p:cNvPr>
          <p:cNvSpPr txBox="1"/>
          <p:nvPr/>
        </p:nvSpPr>
        <p:spPr>
          <a:xfrm>
            <a:off x="6639758" y="1478902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Ú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9D93506-85BA-4D04-9DBA-6EF16EE06349}"/>
              </a:ext>
            </a:extLst>
          </p:cNvPr>
          <p:cNvSpPr txBox="1"/>
          <p:nvPr/>
        </p:nvSpPr>
        <p:spPr>
          <a:xfrm>
            <a:off x="6340908" y="2825727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TURISM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4A34C13B-3D75-4FFB-8C78-5ABE260D3F23}"/>
              </a:ext>
            </a:extLst>
          </p:cNvPr>
          <p:cNvSpPr txBox="1"/>
          <p:nvPr/>
        </p:nvSpPr>
        <p:spPr>
          <a:xfrm>
            <a:off x="4861431" y="3711739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EDUC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3" name="Picture 2" descr="Resultado de imagem para puzzle">
            <a:extLst>
              <a:ext uri="{FF2B5EF4-FFF2-40B4-BE49-F238E27FC236}">
                <a16:creationId xmlns:a16="http://schemas.microsoft.com/office/drawing/2014/main" id="{67112141-0D2A-4A0C-82D2-ED8D11A80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216" y="194547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aixaDeTexto 23">
            <a:extLst>
              <a:ext uri="{FF2B5EF4-FFF2-40B4-BE49-F238E27FC236}">
                <a16:creationId xmlns:a16="http://schemas.microsoft.com/office/drawing/2014/main" id="{83455E5F-1495-4567-AEE2-CA8D540FAEA8}"/>
              </a:ext>
            </a:extLst>
          </p:cNvPr>
          <p:cNvSpPr txBox="1"/>
          <p:nvPr/>
        </p:nvSpPr>
        <p:spPr>
          <a:xfrm>
            <a:off x="7956376" y="2355726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OUTROS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5" name="Picture 2" descr="Resultado de imagem para puzzle">
            <a:extLst>
              <a:ext uri="{FF2B5EF4-FFF2-40B4-BE49-F238E27FC236}">
                <a16:creationId xmlns:a16="http://schemas.microsoft.com/office/drawing/2014/main" id="{DDAE0CBE-8D41-49F8-9A39-3051EEE05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545" y="319244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4F0F4722-0F74-45E4-B5B3-EECD5C8776F7}"/>
              </a:ext>
            </a:extLst>
          </p:cNvPr>
          <p:cNvSpPr txBox="1"/>
          <p:nvPr/>
        </p:nvSpPr>
        <p:spPr>
          <a:xfrm>
            <a:off x="7690657" y="3568858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HABIT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" name="Balão de Fala: Retângulo com Cantos Arredondados 1">
            <a:extLst>
              <a:ext uri="{FF2B5EF4-FFF2-40B4-BE49-F238E27FC236}">
                <a16:creationId xmlns:a16="http://schemas.microsoft.com/office/drawing/2014/main" id="{992726CB-8C11-4BAF-981A-EE8147453AC5}"/>
              </a:ext>
            </a:extLst>
          </p:cNvPr>
          <p:cNvSpPr/>
          <p:nvPr/>
        </p:nvSpPr>
        <p:spPr>
          <a:xfrm>
            <a:off x="6494102" y="1419622"/>
            <a:ext cx="1487298" cy="2550443"/>
          </a:xfrm>
          <a:prstGeom prst="wedgeRoundRectCallout">
            <a:avLst>
              <a:gd name="adj1" fmla="val -98085"/>
              <a:gd name="adj2" fmla="val -1858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pt-BR" sz="1000" dirty="0">
                <a:solidFill>
                  <a:schemeClr val="tx1"/>
                </a:solidFill>
                <a:latin typeface="Myriad Pro"/>
              </a:rPr>
              <a:t>A expansão das redes de água e esgoto traz consigo </a:t>
            </a:r>
            <a:r>
              <a:rPr lang="pt-BR" sz="1000" b="1" dirty="0">
                <a:solidFill>
                  <a:schemeClr val="tx1"/>
                </a:solidFill>
                <a:latin typeface="Myriad Pro"/>
              </a:rPr>
              <a:t>elevação da produtividade </a:t>
            </a:r>
            <a:r>
              <a:rPr lang="pt-BR" sz="1000" dirty="0">
                <a:solidFill>
                  <a:schemeClr val="tx1"/>
                </a:solidFill>
                <a:latin typeface="Myriad Pro"/>
              </a:rPr>
              <a:t>do trabalho e, com isso, tem efeitos sobre o nível de renda das famílias</a:t>
            </a:r>
          </a:p>
        </p:txBody>
      </p:sp>
    </p:spTree>
    <p:extLst>
      <p:ext uri="{BB962C8B-B14F-4D97-AF65-F5344CB8AC3E}">
        <p14:creationId xmlns:p14="http://schemas.microsoft.com/office/powerpoint/2010/main" val="252104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Resultado de imagem para EMPURRAR">
            <a:extLst>
              <a:ext uri="{FF2B5EF4-FFF2-40B4-BE49-F238E27FC236}">
                <a16:creationId xmlns:a16="http://schemas.microsoft.com/office/drawing/2014/main" id="{A06447B5-AC06-4139-816F-4F8F61B3E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01" b="16401"/>
          <a:stretch/>
        </p:blipFill>
        <p:spPr bwMode="auto">
          <a:xfrm>
            <a:off x="-4922" y="2205037"/>
            <a:ext cx="1479367" cy="137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F44351FB-B470-4C49-8B5A-E3976402966C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algn="ctr" defTabSz="914400">
              <a:spcBef>
                <a:spcPct val="0"/>
              </a:spcBef>
              <a:buNone/>
              <a:defRPr sz="1600" b="1">
                <a:solidFill>
                  <a:srgbClr val="253F93"/>
                </a:solidFill>
                <a:latin typeface="Myriad Pro"/>
                <a:ea typeface="+mj-ea"/>
                <a:cs typeface="+mj-cs"/>
              </a:defRPr>
            </a:lvl1pPr>
          </a:lstStyle>
          <a:p>
            <a:r>
              <a:rPr lang="pt-BR" dirty="0"/>
              <a:t>Saneamento está diretamente ligado ao desenvolvimento do país</a:t>
            </a:r>
          </a:p>
        </p:txBody>
      </p:sp>
      <p:pic>
        <p:nvPicPr>
          <p:cNvPr id="1026" name="Picture 2" descr="Resultado de imagem para puzzle">
            <a:extLst>
              <a:ext uri="{FF2B5EF4-FFF2-40B4-BE49-F238E27FC236}">
                <a16:creationId xmlns:a16="http://schemas.microsoft.com/office/drawing/2014/main" id="{3B5C1C68-994C-4E1C-A8D3-241A3D9793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"/>
          <a:stretch/>
        </p:blipFill>
        <p:spPr bwMode="auto">
          <a:xfrm>
            <a:off x="1433242" y="1555116"/>
            <a:ext cx="2612253" cy="208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1A92C20C-11F7-45F7-BA69-C718842DA8F8}"/>
              </a:ext>
            </a:extLst>
          </p:cNvPr>
          <p:cNvSpPr txBox="1"/>
          <p:nvPr/>
        </p:nvSpPr>
        <p:spPr>
          <a:xfrm>
            <a:off x="2132112" y="2335693"/>
            <a:ext cx="1935832" cy="3452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250" b="1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NEAMENTO</a:t>
            </a:r>
            <a:endParaRPr lang="pt-BR" sz="1250" b="1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15" name="Picture 2" descr="Resultado de imagem para puzzle">
            <a:extLst>
              <a:ext uri="{FF2B5EF4-FFF2-40B4-BE49-F238E27FC236}">
                <a16:creationId xmlns:a16="http://schemas.microsoft.com/office/drawing/2014/main" id="{F83715B5-5BF9-4280-B96F-C8B07C01C8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297" y="164636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esultado de imagem para puzzle">
            <a:extLst>
              <a:ext uri="{FF2B5EF4-FFF2-40B4-BE49-F238E27FC236}">
                <a16:creationId xmlns:a16="http://schemas.microsoft.com/office/drawing/2014/main" id="{2C4CAB72-0B9E-412B-8A27-D461979B6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0717" y="2423211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Resultado de imagem para puzzle">
            <a:extLst>
              <a:ext uri="{FF2B5EF4-FFF2-40B4-BE49-F238E27FC236}">
                <a16:creationId xmlns:a16="http://schemas.microsoft.com/office/drawing/2014/main" id="{63C5D871-42B2-495B-8711-9CBA4C4856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489" y="1104208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Resultado de imagem para puzzle">
            <a:extLst>
              <a:ext uri="{FF2B5EF4-FFF2-40B4-BE49-F238E27FC236}">
                <a16:creationId xmlns:a16="http://schemas.microsoft.com/office/drawing/2014/main" id="{1134C6D2-2A1E-4661-9F9C-2BF3B95FB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986" y="332020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C265C6F1-4D42-416F-8F1E-EF253EA67D6E}"/>
              </a:ext>
            </a:extLst>
          </p:cNvPr>
          <p:cNvSpPr txBox="1"/>
          <p:nvPr/>
        </p:nvSpPr>
        <p:spPr>
          <a:xfrm>
            <a:off x="4665034" y="2039503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PRODUTIVIDA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63FA14E-7742-4F0A-B3D9-A67C709D8808}"/>
              </a:ext>
            </a:extLst>
          </p:cNvPr>
          <p:cNvSpPr txBox="1"/>
          <p:nvPr/>
        </p:nvSpPr>
        <p:spPr>
          <a:xfrm>
            <a:off x="6639758" y="1478902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Ú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9D93506-85BA-4D04-9DBA-6EF16EE06349}"/>
              </a:ext>
            </a:extLst>
          </p:cNvPr>
          <p:cNvSpPr txBox="1"/>
          <p:nvPr/>
        </p:nvSpPr>
        <p:spPr>
          <a:xfrm>
            <a:off x="6340908" y="2825727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TURISM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4A34C13B-3D75-4FFB-8C78-5ABE260D3F23}"/>
              </a:ext>
            </a:extLst>
          </p:cNvPr>
          <p:cNvSpPr txBox="1"/>
          <p:nvPr/>
        </p:nvSpPr>
        <p:spPr>
          <a:xfrm>
            <a:off x="4861431" y="3711739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EDUC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3" name="Picture 2" descr="Resultado de imagem para puzzle">
            <a:extLst>
              <a:ext uri="{FF2B5EF4-FFF2-40B4-BE49-F238E27FC236}">
                <a16:creationId xmlns:a16="http://schemas.microsoft.com/office/drawing/2014/main" id="{67112141-0D2A-4A0C-82D2-ED8D11A80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216" y="194547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aixaDeTexto 23">
            <a:extLst>
              <a:ext uri="{FF2B5EF4-FFF2-40B4-BE49-F238E27FC236}">
                <a16:creationId xmlns:a16="http://schemas.microsoft.com/office/drawing/2014/main" id="{83455E5F-1495-4567-AEE2-CA8D540FAEA8}"/>
              </a:ext>
            </a:extLst>
          </p:cNvPr>
          <p:cNvSpPr txBox="1"/>
          <p:nvPr/>
        </p:nvSpPr>
        <p:spPr>
          <a:xfrm>
            <a:off x="7956376" y="2355726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OUTROS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5" name="Picture 2" descr="Resultado de imagem para puzzle">
            <a:extLst>
              <a:ext uri="{FF2B5EF4-FFF2-40B4-BE49-F238E27FC236}">
                <a16:creationId xmlns:a16="http://schemas.microsoft.com/office/drawing/2014/main" id="{DDAE0CBE-8D41-49F8-9A39-3051EEE05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545" y="319244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4F0F4722-0F74-45E4-B5B3-EECD5C8776F7}"/>
              </a:ext>
            </a:extLst>
          </p:cNvPr>
          <p:cNvSpPr txBox="1"/>
          <p:nvPr/>
        </p:nvSpPr>
        <p:spPr>
          <a:xfrm>
            <a:off x="7690657" y="3568858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HABIT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" name="Balão de Fala: Retângulo com Cantos Arredondados 1">
            <a:extLst>
              <a:ext uri="{FF2B5EF4-FFF2-40B4-BE49-F238E27FC236}">
                <a16:creationId xmlns:a16="http://schemas.microsoft.com/office/drawing/2014/main" id="{992726CB-8C11-4BAF-981A-EE8147453AC5}"/>
              </a:ext>
            </a:extLst>
          </p:cNvPr>
          <p:cNvSpPr/>
          <p:nvPr/>
        </p:nvSpPr>
        <p:spPr>
          <a:xfrm>
            <a:off x="4300662" y="997370"/>
            <a:ext cx="1487298" cy="2550443"/>
          </a:xfrm>
          <a:prstGeom prst="wedgeRoundRectCallout">
            <a:avLst>
              <a:gd name="adj1" fmla="val 105736"/>
              <a:gd name="adj2" fmla="val -23646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pt-BR" sz="1000" dirty="0">
                <a:solidFill>
                  <a:schemeClr val="tx1"/>
                </a:solidFill>
                <a:latin typeface="Myriad Pro"/>
              </a:rPr>
              <a:t>O acesso ao saneamento </a:t>
            </a:r>
            <a:r>
              <a:rPr lang="pt-BR" sz="1000" b="1" dirty="0">
                <a:solidFill>
                  <a:schemeClr val="tx1"/>
                </a:solidFill>
                <a:latin typeface="Myriad Pro"/>
              </a:rPr>
              <a:t>reduz a incidência de doenças</a:t>
            </a:r>
            <a:r>
              <a:rPr lang="pt-BR" sz="1000" dirty="0">
                <a:solidFill>
                  <a:schemeClr val="tx1"/>
                </a:solidFill>
                <a:latin typeface="Myriad Pro"/>
              </a:rPr>
              <a:t> e, por isso, aumenta a qualidade de vida e reduz os custos de manutenção e expansão do sistema público de saúde</a:t>
            </a:r>
          </a:p>
        </p:txBody>
      </p:sp>
    </p:spTree>
    <p:extLst>
      <p:ext uri="{BB962C8B-B14F-4D97-AF65-F5344CB8AC3E}">
        <p14:creationId xmlns:p14="http://schemas.microsoft.com/office/powerpoint/2010/main" val="2625714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Resultado de imagem para EMPURRAR">
            <a:extLst>
              <a:ext uri="{FF2B5EF4-FFF2-40B4-BE49-F238E27FC236}">
                <a16:creationId xmlns:a16="http://schemas.microsoft.com/office/drawing/2014/main" id="{A06447B5-AC06-4139-816F-4F8F61B3E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01" b="16401"/>
          <a:stretch/>
        </p:blipFill>
        <p:spPr bwMode="auto">
          <a:xfrm>
            <a:off x="-4922" y="2205037"/>
            <a:ext cx="1479367" cy="137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F44351FB-B470-4C49-8B5A-E3976402966C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algn="ctr" defTabSz="914400">
              <a:spcBef>
                <a:spcPct val="0"/>
              </a:spcBef>
              <a:buNone/>
              <a:defRPr sz="1600" b="1">
                <a:solidFill>
                  <a:srgbClr val="253F93"/>
                </a:solidFill>
                <a:latin typeface="Myriad Pro"/>
                <a:ea typeface="+mj-ea"/>
                <a:cs typeface="+mj-cs"/>
              </a:defRPr>
            </a:lvl1pPr>
          </a:lstStyle>
          <a:p>
            <a:r>
              <a:rPr lang="pt-BR" dirty="0"/>
              <a:t>Saneamento está diretamente ligado ao desenvolvimento do país</a:t>
            </a:r>
          </a:p>
        </p:txBody>
      </p:sp>
      <p:pic>
        <p:nvPicPr>
          <p:cNvPr id="1026" name="Picture 2" descr="Resultado de imagem para puzzle">
            <a:extLst>
              <a:ext uri="{FF2B5EF4-FFF2-40B4-BE49-F238E27FC236}">
                <a16:creationId xmlns:a16="http://schemas.microsoft.com/office/drawing/2014/main" id="{3B5C1C68-994C-4E1C-A8D3-241A3D9793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"/>
          <a:stretch/>
        </p:blipFill>
        <p:spPr bwMode="auto">
          <a:xfrm>
            <a:off x="1433242" y="1555116"/>
            <a:ext cx="2612253" cy="208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1A92C20C-11F7-45F7-BA69-C718842DA8F8}"/>
              </a:ext>
            </a:extLst>
          </p:cNvPr>
          <p:cNvSpPr txBox="1"/>
          <p:nvPr/>
        </p:nvSpPr>
        <p:spPr>
          <a:xfrm>
            <a:off x="2132112" y="2335693"/>
            <a:ext cx="1935832" cy="3452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250" b="1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NEAMENTO</a:t>
            </a:r>
            <a:endParaRPr lang="pt-BR" sz="1250" b="1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15" name="Picture 2" descr="Resultado de imagem para puzzle">
            <a:extLst>
              <a:ext uri="{FF2B5EF4-FFF2-40B4-BE49-F238E27FC236}">
                <a16:creationId xmlns:a16="http://schemas.microsoft.com/office/drawing/2014/main" id="{F83715B5-5BF9-4280-B96F-C8B07C01C8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297" y="164636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esultado de imagem para puzzle">
            <a:extLst>
              <a:ext uri="{FF2B5EF4-FFF2-40B4-BE49-F238E27FC236}">
                <a16:creationId xmlns:a16="http://schemas.microsoft.com/office/drawing/2014/main" id="{2C4CAB72-0B9E-412B-8A27-D461979B6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0717" y="2423211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Resultado de imagem para puzzle">
            <a:extLst>
              <a:ext uri="{FF2B5EF4-FFF2-40B4-BE49-F238E27FC236}">
                <a16:creationId xmlns:a16="http://schemas.microsoft.com/office/drawing/2014/main" id="{63C5D871-42B2-495B-8711-9CBA4C4856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489" y="1104208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Resultado de imagem para puzzle">
            <a:extLst>
              <a:ext uri="{FF2B5EF4-FFF2-40B4-BE49-F238E27FC236}">
                <a16:creationId xmlns:a16="http://schemas.microsoft.com/office/drawing/2014/main" id="{1134C6D2-2A1E-4661-9F9C-2BF3B95FB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986" y="332020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C265C6F1-4D42-416F-8F1E-EF253EA67D6E}"/>
              </a:ext>
            </a:extLst>
          </p:cNvPr>
          <p:cNvSpPr txBox="1"/>
          <p:nvPr/>
        </p:nvSpPr>
        <p:spPr>
          <a:xfrm>
            <a:off x="4665034" y="2039503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PRODUTIVIDA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63FA14E-7742-4F0A-B3D9-A67C709D8808}"/>
              </a:ext>
            </a:extLst>
          </p:cNvPr>
          <p:cNvSpPr txBox="1"/>
          <p:nvPr/>
        </p:nvSpPr>
        <p:spPr>
          <a:xfrm>
            <a:off x="6639758" y="1478902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Ú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9D93506-85BA-4D04-9DBA-6EF16EE06349}"/>
              </a:ext>
            </a:extLst>
          </p:cNvPr>
          <p:cNvSpPr txBox="1"/>
          <p:nvPr/>
        </p:nvSpPr>
        <p:spPr>
          <a:xfrm>
            <a:off x="6340908" y="2825727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TURISM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4A34C13B-3D75-4FFB-8C78-5ABE260D3F23}"/>
              </a:ext>
            </a:extLst>
          </p:cNvPr>
          <p:cNvSpPr txBox="1"/>
          <p:nvPr/>
        </p:nvSpPr>
        <p:spPr>
          <a:xfrm>
            <a:off x="4861431" y="3711739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EDUC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3" name="Picture 2" descr="Resultado de imagem para puzzle">
            <a:extLst>
              <a:ext uri="{FF2B5EF4-FFF2-40B4-BE49-F238E27FC236}">
                <a16:creationId xmlns:a16="http://schemas.microsoft.com/office/drawing/2014/main" id="{67112141-0D2A-4A0C-82D2-ED8D11A80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216" y="194547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aixaDeTexto 23">
            <a:extLst>
              <a:ext uri="{FF2B5EF4-FFF2-40B4-BE49-F238E27FC236}">
                <a16:creationId xmlns:a16="http://schemas.microsoft.com/office/drawing/2014/main" id="{83455E5F-1495-4567-AEE2-CA8D540FAEA8}"/>
              </a:ext>
            </a:extLst>
          </p:cNvPr>
          <p:cNvSpPr txBox="1"/>
          <p:nvPr/>
        </p:nvSpPr>
        <p:spPr>
          <a:xfrm>
            <a:off x="7956376" y="2355726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OUTROS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5" name="Picture 2" descr="Resultado de imagem para puzzle">
            <a:extLst>
              <a:ext uri="{FF2B5EF4-FFF2-40B4-BE49-F238E27FC236}">
                <a16:creationId xmlns:a16="http://schemas.microsoft.com/office/drawing/2014/main" id="{DDAE0CBE-8D41-49F8-9A39-3051EEE05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545" y="319244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4F0F4722-0F74-45E4-B5B3-EECD5C8776F7}"/>
              </a:ext>
            </a:extLst>
          </p:cNvPr>
          <p:cNvSpPr txBox="1"/>
          <p:nvPr/>
        </p:nvSpPr>
        <p:spPr>
          <a:xfrm>
            <a:off x="7690657" y="3568858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HABIT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" name="Balão de Fala: Retângulo com Cantos Arredondados 1">
            <a:extLst>
              <a:ext uri="{FF2B5EF4-FFF2-40B4-BE49-F238E27FC236}">
                <a16:creationId xmlns:a16="http://schemas.microsoft.com/office/drawing/2014/main" id="{992726CB-8C11-4BAF-981A-EE8147453AC5}"/>
              </a:ext>
            </a:extLst>
          </p:cNvPr>
          <p:cNvSpPr/>
          <p:nvPr/>
        </p:nvSpPr>
        <p:spPr>
          <a:xfrm>
            <a:off x="6249812" y="1337329"/>
            <a:ext cx="1816256" cy="2789039"/>
          </a:xfrm>
          <a:prstGeom prst="wedgeRoundRectCallout">
            <a:avLst>
              <a:gd name="adj1" fmla="val -85248"/>
              <a:gd name="adj2" fmla="val 41212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pt-BR" sz="1000" dirty="0">
                <a:solidFill>
                  <a:schemeClr val="tx1"/>
                </a:solidFill>
                <a:latin typeface="Myriad Pro"/>
              </a:rPr>
              <a:t>O acesso às redes de água e esgoto reduz os dias de afastamento da escola por doenças e melhora o aproveitamento. Por essas razões, acaba elevando o </a:t>
            </a:r>
            <a:r>
              <a:rPr lang="pt-BR" sz="1000" b="1" dirty="0">
                <a:solidFill>
                  <a:schemeClr val="tx1"/>
                </a:solidFill>
                <a:latin typeface="Myriad Pro"/>
              </a:rPr>
              <a:t>desempenho escolar </a:t>
            </a:r>
            <a:r>
              <a:rPr lang="pt-BR" sz="1000" dirty="0">
                <a:solidFill>
                  <a:schemeClr val="tx1"/>
                </a:solidFill>
                <a:latin typeface="Myriad Pro"/>
              </a:rPr>
              <a:t>dos estudantes, com efeitos duradores no mercado de trabalho</a:t>
            </a:r>
          </a:p>
        </p:txBody>
      </p:sp>
    </p:spTree>
    <p:extLst>
      <p:ext uri="{BB962C8B-B14F-4D97-AF65-F5344CB8AC3E}">
        <p14:creationId xmlns:p14="http://schemas.microsoft.com/office/powerpoint/2010/main" val="1641786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Resultado de imagem para EMPURRAR">
            <a:extLst>
              <a:ext uri="{FF2B5EF4-FFF2-40B4-BE49-F238E27FC236}">
                <a16:creationId xmlns:a16="http://schemas.microsoft.com/office/drawing/2014/main" id="{A06447B5-AC06-4139-816F-4F8F61B3E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01" b="16401"/>
          <a:stretch/>
        </p:blipFill>
        <p:spPr bwMode="auto">
          <a:xfrm>
            <a:off x="-4922" y="2205037"/>
            <a:ext cx="1479367" cy="137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F44351FB-B470-4C49-8B5A-E3976402966C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algn="ctr" defTabSz="914400">
              <a:spcBef>
                <a:spcPct val="0"/>
              </a:spcBef>
              <a:buNone/>
              <a:defRPr sz="1600" b="1">
                <a:solidFill>
                  <a:srgbClr val="253F93"/>
                </a:solidFill>
                <a:latin typeface="Myriad Pro"/>
                <a:ea typeface="+mj-ea"/>
                <a:cs typeface="+mj-cs"/>
              </a:defRPr>
            </a:lvl1pPr>
          </a:lstStyle>
          <a:p>
            <a:r>
              <a:rPr lang="pt-BR" dirty="0"/>
              <a:t>Saneamento está diretamente ligado ao desenvolvimento do país</a:t>
            </a:r>
          </a:p>
        </p:txBody>
      </p:sp>
      <p:pic>
        <p:nvPicPr>
          <p:cNvPr id="1026" name="Picture 2" descr="Resultado de imagem para puzzle">
            <a:extLst>
              <a:ext uri="{FF2B5EF4-FFF2-40B4-BE49-F238E27FC236}">
                <a16:creationId xmlns:a16="http://schemas.microsoft.com/office/drawing/2014/main" id="{3B5C1C68-994C-4E1C-A8D3-241A3D9793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"/>
          <a:stretch/>
        </p:blipFill>
        <p:spPr bwMode="auto">
          <a:xfrm>
            <a:off x="1433242" y="1555116"/>
            <a:ext cx="2612253" cy="208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1A92C20C-11F7-45F7-BA69-C718842DA8F8}"/>
              </a:ext>
            </a:extLst>
          </p:cNvPr>
          <p:cNvSpPr txBox="1"/>
          <p:nvPr/>
        </p:nvSpPr>
        <p:spPr>
          <a:xfrm>
            <a:off x="2132112" y="2335693"/>
            <a:ext cx="1935832" cy="3452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250" b="1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NEAMENTO</a:t>
            </a:r>
            <a:endParaRPr lang="pt-BR" sz="1250" b="1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15" name="Picture 2" descr="Resultado de imagem para puzzle">
            <a:extLst>
              <a:ext uri="{FF2B5EF4-FFF2-40B4-BE49-F238E27FC236}">
                <a16:creationId xmlns:a16="http://schemas.microsoft.com/office/drawing/2014/main" id="{F83715B5-5BF9-4280-B96F-C8B07C01C8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297" y="164636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esultado de imagem para puzzle">
            <a:extLst>
              <a:ext uri="{FF2B5EF4-FFF2-40B4-BE49-F238E27FC236}">
                <a16:creationId xmlns:a16="http://schemas.microsoft.com/office/drawing/2014/main" id="{2C4CAB72-0B9E-412B-8A27-D461979B6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0717" y="2423211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Resultado de imagem para puzzle">
            <a:extLst>
              <a:ext uri="{FF2B5EF4-FFF2-40B4-BE49-F238E27FC236}">
                <a16:creationId xmlns:a16="http://schemas.microsoft.com/office/drawing/2014/main" id="{63C5D871-42B2-495B-8711-9CBA4C4856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489" y="1104208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Resultado de imagem para puzzle">
            <a:extLst>
              <a:ext uri="{FF2B5EF4-FFF2-40B4-BE49-F238E27FC236}">
                <a16:creationId xmlns:a16="http://schemas.microsoft.com/office/drawing/2014/main" id="{1134C6D2-2A1E-4661-9F9C-2BF3B95FB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986" y="332020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C265C6F1-4D42-416F-8F1E-EF253EA67D6E}"/>
              </a:ext>
            </a:extLst>
          </p:cNvPr>
          <p:cNvSpPr txBox="1"/>
          <p:nvPr/>
        </p:nvSpPr>
        <p:spPr>
          <a:xfrm>
            <a:off x="4665034" y="2039503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PRODUTIVIDA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63FA14E-7742-4F0A-B3D9-A67C709D8808}"/>
              </a:ext>
            </a:extLst>
          </p:cNvPr>
          <p:cNvSpPr txBox="1"/>
          <p:nvPr/>
        </p:nvSpPr>
        <p:spPr>
          <a:xfrm>
            <a:off x="6639758" y="1478902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Ú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9D93506-85BA-4D04-9DBA-6EF16EE06349}"/>
              </a:ext>
            </a:extLst>
          </p:cNvPr>
          <p:cNvSpPr txBox="1"/>
          <p:nvPr/>
        </p:nvSpPr>
        <p:spPr>
          <a:xfrm>
            <a:off x="6340908" y="2825727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TURISM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4A34C13B-3D75-4FFB-8C78-5ABE260D3F23}"/>
              </a:ext>
            </a:extLst>
          </p:cNvPr>
          <p:cNvSpPr txBox="1"/>
          <p:nvPr/>
        </p:nvSpPr>
        <p:spPr>
          <a:xfrm>
            <a:off x="4861431" y="3711739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EDUC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3" name="Picture 2" descr="Resultado de imagem para puzzle">
            <a:extLst>
              <a:ext uri="{FF2B5EF4-FFF2-40B4-BE49-F238E27FC236}">
                <a16:creationId xmlns:a16="http://schemas.microsoft.com/office/drawing/2014/main" id="{67112141-0D2A-4A0C-82D2-ED8D11A80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216" y="194547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aixaDeTexto 23">
            <a:extLst>
              <a:ext uri="{FF2B5EF4-FFF2-40B4-BE49-F238E27FC236}">
                <a16:creationId xmlns:a16="http://schemas.microsoft.com/office/drawing/2014/main" id="{83455E5F-1495-4567-AEE2-CA8D540FAEA8}"/>
              </a:ext>
            </a:extLst>
          </p:cNvPr>
          <p:cNvSpPr txBox="1"/>
          <p:nvPr/>
        </p:nvSpPr>
        <p:spPr>
          <a:xfrm>
            <a:off x="7956376" y="2355726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OUTROS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5" name="Picture 2" descr="Resultado de imagem para puzzle">
            <a:extLst>
              <a:ext uri="{FF2B5EF4-FFF2-40B4-BE49-F238E27FC236}">
                <a16:creationId xmlns:a16="http://schemas.microsoft.com/office/drawing/2014/main" id="{DDAE0CBE-8D41-49F8-9A39-3051EEE05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545" y="319244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4F0F4722-0F74-45E4-B5B3-EECD5C8776F7}"/>
              </a:ext>
            </a:extLst>
          </p:cNvPr>
          <p:cNvSpPr txBox="1"/>
          <p:nvPr/>
        </p:nvSpPr>
        <p:spPr>
          <a:xfrm>
            <a:off x="7690657" y="3568858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HABIT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" name="Balão de Fala: Retângulo com Cantos Arredondados 1">
            <a:extLst>
              <a:ext uri="{FF2B5EF4-FFF2-40B4-BE49-F238E27FC236}">
                <a16:creationId xmlns:a16="http://schemas.microsoft.com/office/drawing/2014/main" id="{992726CB-8C11-4BAF-981A-EE8147453AC5}"/>
              </a:ext>
            </a:extLst>
          </p:cNvPr>
          <p:cNvSpPr/>
          <p:nvPr/>
        </p:nvSpPr>
        <p:spPr>
          <a:xfrm>
            <a:off x="3896216" y="1184219"/>
            <a:ext cx="1816256" cy="2789039"/>
          </a:xfrm>
          <a:prstGeom prst="wedgeRoundRectCallout">
            <a:avLst>
              <a:gd name="adj1" fmla="val 86583"/>
              <a:gd name="adj2" fmla="val 15554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pt-BR" sz="1000" dirty="0">
                <a:solidFill>
                  <a:schemeClr val="tx1"/>
                </a:solidFill>
                <a:latin typeface="Myriad Pro"/>
              </a:rPr>
              <a:t>A expansão da rede de esgoto traz consigo benefícios diretos ao meio ambiente com </a:t>
            </a:r>
            <a:r>
              <a:rPr lang="pt-BR" sz="1000" b="1" dirty="0">
                <a:solidFill>
                  <a:schemeClr val="tx1"/>
                </a:solidFill>
                <a:latin typeface="Myriad Pro"/>
              </a:rPr>
              <a:t>valorização ambiental</a:t>
            </a:r>
            <a:r>
              <a:rPr lang="pt-BR" sz="1000" dirty="0">
                <a:solidFill>
                  <a:schemeClr val="tx1"/>
                </a:solidFill>
                <a:latin typeface="Myriad Pro"/>
              </a:rPr>
              <a:t>, o que implica um aumento considerável da capacidade de geração de renda em várias atividades, em especial no </a:t>
            </a:r>
            <a:r>
              <a:rPr lang="pt-BR" sz="1000" b="1" dirty="0">
                <a:solidFill>
                  <a:schemeClr val="tx1"/>
                </a:solidFill>
                <a:latin typeface="Myriad Pro"/>
              </a:rPr>
              <a:t>turismo</a:t>
            </a:r>
          </a:p>
        </p:txBody>
      </p:sp>
    </p:spTree>
    <p:extLst>
      <p:ext uri="{BB962C8B-B14F-4D97-AF65-F5344CB8AC3E}">
        <p14:creationId xmlns:p14="http://schemas.microsoft.com/office/powerpoint/2010/main" val="988431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Resultado de imagem para EMPURRAR">
            <a:extLst>
              <a:ext uri="{FF2B5EF4-FFF2-40B4-BE49-F238E27FC236}">
                <a16:creationId xmlns:a16="http://schemas.microsoft.com/office/drawing/2014/main" id="{A06447B5-AC06-4139-816F-4F8F61B3E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01" b="16401"/>
          <a:stretch/>
        </p:blipFill>
        <p:spPr bwMode="auto">
          <a:xfrm>
            <a:off x="-4922" y="2205037"/>
            <a:ext cx="1479367" cy="137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F44351FB-B470-4C49-8B5A-E3976402966C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algn="ctr" defTabSz="914400">
              <a:spcBef>
                <a:spcPct val="0"/>
              </a:spcBef>
              <a:buNone/>
              <a:defRPr sz="1600" b="1">
                <a:solidFill>
                  <a:srgbClr val="253F93"/>
                </a:solidFill>
                <a:latin typeface="Myriad Pro"/>
                <a:ea typeface="+mj-ea"/>
                <a:cs typeface="+mj-cs"/>
              </a:defRPr>
            </a:lvl1pPr>
          </a:lstStyle>
          <a:p>
            <a:r>
              <a:rPr lang="pt-BR" dirty="0"/>
              <a:t>Saneamento está diretamente ligado ao desenvolvimento do país</a:t>
            </a:r>
          </a:p>
        </p:txBody>
      </p:sp>
      <p:pic>
        <p:nvPicPr>
          <p:cNvPr id="1026" name="Picture 2" descr="Resultado de imagem para puzzle">
            <a:extLst>
              <a:ext uri="{FF2B5EF4-FFF2-40B4-BE49-F238E27FC236}">
                <a16:creationId xmlns:a16="http://schemas.microsoft.com/office/drawing/2014/main" id="{3B5C1C68-994C-4E1C-A8D3-241A3D9793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"/>
          <a:stretch/>
        </p:blipFill>
        <p:spPr bwMode="auto">
          <a:xfrm>
            <a:off x="1433242" y="1555116"/>
            <a:ext cx="2612253" cy="208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1A92C20C-11F7-45F7-BA69-C718842DA8F8}"/>
              </a:ext>
            </a:extLst>
          </p:cNvPr>
          <p:cNvSpPr txBox="1"/>
          <p:nvPr/>
        </p:nvSpPr>
        <p:spPr>
          <a:xfrm>
            <a:off x="2132112" y="2335693"/>
            <a:ext cx="1935832" cy="3452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250" b="1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NEAMENTO</a:t>
            </a:r>
            <a:endParaRPr lang="pt-BR" sz="1250" b="1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15" name="Picture 2" descr="Resultado de imagem para puzzle">
            <a:extLst>
              <a:ext uri="{FF2B5EF4-FFF2-40B4-BE49-F238E27FC236}">
                <a16:creationId xmlns:a16="http://schemas.microsoft.com/office/drawing/2014/main" id="{F83715B5-5BF9-4280-B96F-C8B07C01C8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297" y="164636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esultado de imagem para puzzle">
            <a:extLst>
              <a:ext uri="{FF2B5EF4-FFF2-40B4-BE49-F238E27FC236}">
                <a16:creationId xmlns:a16="http://schemas.microsoft.com/office/drawing/2014/main" id="{2C4CAB72-0B9E-412B-8A27-D461979B6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0717" y="2423211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Resultado de imagem para puzzle">
            <a:extLst>
              <a:ext uri="{FF2B5EF4-FFF2-40B4-BE49-F238E27FC236}">
                <a16:creationId xmlns:a16="http://schemas.microsoft.com/office/drawing/2014/main" id="{63C5D871-42B2-495B-8711-9CBA4C4856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489" y="1104208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Resultado de imagem para puzzle">
            <a:extLst>
              <a:ext uri="{FF2B5EF4-FFF2-40B4-BE49-F238E27FC236}">
                <a16:creationId xmlns:a16="http://schemas.microsoft.com/office/drawing/2014/main" id="{1134C6D2-2A1E-4661-9F9C-2BF3B95FB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986" y="332020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C265C6F1-4D42-416F-8F1E-EF253EA67D6E}"/>
              </a:ext>
            </a:extLst>
          </p:cNvPr>
          <p:cNvSpPr txBox="1"/>
          <p:nvPr/>
        </p:nvSpPr>
        <p:spPr>
          <a:xfrm>
            <a:off x="4665034" y="2039503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PRODUTIVIDA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63FA14E-7742-4F0A-B3D9-A67C709D8808}"/>
              </a:ext>
            </a:extLst>
          </p:cNvPr>
          <p:cNvSpPr txBox="1"/>
          <p:nvPr/>
        </p:nvSpPr>
        <p:spPr>
          <a:xfrm>
            <a:off x="6639758" y="1478902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Ú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9D93506-85BA-4D04-9DBA-6EF16EE06349}"/>
              </a:ext>
            </a:extLst>
          </p:cNvPr>
          <p:cNvSpPr txBox="1"/>
          <p:nvPr/>
        </p:nvSpPr>
        <p:spPr>
          <a:xfrm>
            <a:off x="6340908" y="2825727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TURISM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4A34C13B-3D75-4FFB-8C78-5ABE260D3F23}"/>
              </a:ext>
            </a:extLst>
          </p:cNvPr>
          <p:cNvSpPr txBox="1"/>
          <p:nvPr/>
        </p:nvSpPr>
        <p:spPr>
          <a:xfrm>
            <a:off x="4861431" y="3711739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EDUC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3" name="Picture 2" descr="Resultado de imagem para puzzle">
            <a:extLst>
              <a:ext uri="{FF2B5EF4-FFF2-40B4-BE49-F238E27FC236}">
                <a16:creationId xmlns:a16="http://schemas.microsoft.com/office/drawing/2014/main" id="{67112141-0D2A-4A0C-82D2-ED8D11A80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216" y="194547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aixaDeTexto 23">
            <a:extLst>
              <a:ext uri="{FF2B5EF4-FFF2-40B4-BE49-F238E27FC236}">
                <a16:creationId xmlns:a16="http://schemas.microsoft.com/office/drawing/2014/main" id="{83455E5F-1495-4567-AEE2-CA8D540FAEA8}"/>
              </a:ext>
            </a:extLst>
          </p:cNvPr>
          <p:cNvSpPr txBox="1"/>
          <p:nvPr/>
        </p:nvSpPr>
        <p:spPr>
          <a:xfrm>
            <a:off x="7956376" y="2355726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OUTROS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5" name="Picture 2" descr="Resultado de imagem para puzzle">
            <a:extLst>
              <a:ext uri="{FF2B5EF4-FFF2-40B4-BE49-F238E27FC236}">
                <a16:creationId xmlns:a16="http://schemas.microsoft.com/office/drawing/2014/main" id="{DDAE0CBE-8D41-49F8-9A39-3051EEE05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545" y="319244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4F0F4722-0F74-45E4-B5B3-EECD5C8776F7}"/>
              </a:ext>
            </a:extLst>
          </p:cNvPr>
          <p:cNvSpPr txBox="1"/>
          <p:nvPr/>
        </p:nvSpPr>
        <p:spPr>
          <a:xfrm>
            <a:off x="7690657" y="3568858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HABIT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" name="Balão de Fala: Retângulo com Cantos Arredondados 1">
            <a:extLst>
              <a:ext uri="{FF2B5EF4-FFF2-40B4-BE49-F238E27FC236}">
                <a16:creationId xmlns:a16="http://schemas.microsoft.com/office/drawing/2014/main" id="{992726CB-8C11-4BAF-981A-EE8147453AC5}"/>
              </a:ext>
            </a:extLst>
          </p:cNvPr>
          <p:cNvSpPr/>
          <p:nvPr/>
        </p:nvSpPr>
        <p:spPr>
          <a:xfrm>
            <a:off x="5032597" y="2865179"/>
            <a:ext cx="1816256" cy="2008077"/>
          </a:xfrm>
          <a:prstGeom prst="wedgeRoundRectCallout">
            <a:avLst>
              <a:gd name="adj1" fmla="val 92603"/>
              <a:gd name="adj2" fmla="val -1591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pt-BR" sz="1000" dirty="0">
                <a:solidFill>
                  <a:schemeClr val="tx1"/>
                </a:solidFill>
                <a:latin typeface="Myriad Pro"/>
              </a:rPr>
              <a:t>O acesso ao saneamento impacta diretamente no</a:t>
            </a:r>
          </a:p>
          <a:p>
            <a:pPr>
              <a:lnSpc>
                <a:spcPct val="150000"/>
              </a:lnSpc>
            </a:pPr>
            <a:r>
              <a:rPr lang="pt-BR" sz="1000" b="1" dirty="0">
                <a:solidFill>
                  <a:schemeClr val="tx1"/>
                </a:solidFill>
                <a:latin typeface="Myriad Pro"/>
              </a:rPr>
              <a:t>valor de ativos imobiliários</a:t>
            </a:r>
            <a:r>
              <a:rPr lang="pt-BR" sz="1000" dirty="0">
                <a:solidFill>
                  <a:schemeClr val="tx1"/>
                </a:solidFill>
                <a:latin typeface="Myriad Pro"/>
              </a:rPr>
              <a:t>, </a:t>
            </a:r>
            <a:r>
              <a:rPr lang="pt-BR" sz="1000" b="1" dirty="0">
                <a:solidFill>
                  <a:schemeClr val="tx1"/>
                </a:solidFill>
                <a:latin typeface="Myriad Pro"/>
              </a:rPr>
              <a:t>gerando contribuições à prefeitura</a:t>
            </a:r>
            <a:r>
              <a:rPr lang="pt-BR" sz="1000" dirty="0">
                <a:solidFill>
                  <a:schemeClr val="tx1"/>
                </a:solidFill>
                <a:latin typeface="Myriad Pro"/>
              </a:rPr>
              <a:t>, por meio de</a:t>
            </a:r>
          </a:p>
          <a:p>
            <a:pPr>
              <a:lnSpc>
                <a:spcPct val="150000"/>
              </a:lnSpc>
            </a:pPr>
            <a:r>
              <a:rPr lang="pt-BR" sz="1000" dirty="0">
                <a:solidFill>
                  <a:schemeClr val="tx1"/>
                </a:solidFill>
                <a:latin typeface="Myriad Pro"/>
              </a:rPr>
              <a:t>impostos.</a:t>
            </a:r>
          </a:p>
        </p:txBody>
      </p:sp>
    </p:spTree>
    <p:extLst>
      <p:ext uri="{BB962C8B-B14F-4D97-AF65-F5344CB8AC3E}">
        <p14:creationId xmlns:p14="http://schemas.microsoft.com/office/powerpoint/2010/main" val="898186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Resultado de imagem para EMPURRAR">
            <a:extLst>
              <a:ext uri="{FF2B5EF4-FFF2-40B4-BE49-F238E27FC236}">
                <a16:creationId xmlns:a16="http://schemas.microsoft.com/office/drawing/2014/main" id="{A06447B5-AC06-4139-816F-4F8F61B3EC3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801" b="16401"/>
          <a:stretch/>
        </p:blipFill>
        <p:spPr bwMode="auto">
          <a:xfrm>
            <a:off x="-4922" y="2205037"/>
            <a:ext cx="1479367" cy="137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ítulo 1">
            <a:extLst>
              <a:ext uri="{FF2B5EF4-FFF2-40B4-BE49-F238E27FC236}">
                <a16:creationId xmlns:a16="http://schemas.microsoft.com/office/drawing/2014/main" id="{F44351FB-B470-4C49-8B5A-E3976402966C}"/>
              </a:ext>
            </a:extLst>
          </p:cNvPr>
          <p:cNvSpPr txBox="1">
            <a:spLocks/>
          </p:cNvSpPr>
          <p:nvPr/>
        </p:nvSpPr>
        <p:spPr>
          <a:xfrm>
            <a:off x="0" y="644951"/>
            <a:ext cx="9144000" cy="555526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algn="ctr" defTabSz="914400">
              <a:spcBef>
                <a:spcPct val="0"/>
              </a:spcBef>
              <a:buNone/>
              <a:defRPr sz="1600" b="1">
                <a:solidFill>
                  <a:srgbClr val="253F93"/>
                </a:solidFill>
                <a:latin typeface="Myriad Pro"/>
                <a:ea typeface="+mj-ea"/>
                <a:cs typeface="+mj-cs"/>
              </a:defRPr>
            </a:lvl1pPr>
          </a:lstStyle>
          <a:p>
            <a:r>
              <a:rPr lang="pt-BR" dirty="0"/>
              <a:t>Saneamento está diretamente ligado ao desenvolvimento do país</a:t>
            </a:r>
          </a:p>
        </p:txBody>
      </p:sp>
      <p:pic>
        <p:nvPicPr>
          <p:cNvPr id="1026" name="Picture 2" descr="Resultado de imagem para puzzle">
            <a:extLst>
              <a:ext uri="{FF2B5EF4-FFF2-40B4-BE49-F238E27FC236}">
                <a16:creationId xmlns:a16="http://schemas.microsoft.com/office/drawing/2014/main" id="{3B5C1C68-994C-4E1C-A8D3-241A3D9793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0"/>
          <a:stretch/>
        </p:blipFill>
        <p:spPr bwMode="auto">
          <a:xfrm>
            <a:off x="1433242" y="1555116"/>
            <a:ext cx="2612253" cy="208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1A92C20C-11F7-45F7-BA69-C718842DA8F8}"/>
              </a:ext>
            </a:extLst>
          </p:cNvPr>
          <p:cNvSpPr txBox="1"/>
          <p:nvPr/>
        </p:nvSpPr>
        <p:spPr>
          <a:xfrm>
            <a:off x="2132112" y="2335693"/>
            <a:ext cx="1935832" cy="3452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250" b="1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NEAMENTO</a:t>
            </a:r>
            <a:endParaRPr lang="pt-BR" sz="1250" b="1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15" name="Picture 2" descr="Resultado de imagem para puzzle">
            <a:extLst>
              <a:ext uri="{FF2B5EF4-FFF2-40B4-BE49-F238E27FC236}">
                <a16:creationId xmlns:a16="http://schemas.microsoft.com/office/drawing/2014/main" id="{F83715B5-5BF9-4280-B96F-C8B07C01C8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297" y="164636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esultado de imagem para puzzle">
            <a:extLst>
              <a:ext uri="{FF2B5EF4-FFF2-40B4-BE49-F238E27FC236}">
                <a16:creationId xmlns:a16="http://schemas.microsoft.com/office/drawing/2014/main" id="{2C4CAB72-0B9E-412B-8A27-D461979B6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0717" y="2423211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Resultado de imagem para puzzle">
            <a:extLst>
              <a:ext uri="{FF2B5EF4-FFF2-40B4-BE49-F238E27FC236}">
                <a16:creationId xmlns:a16="http://schemas.microsoft.com/office/drawing/2014/main" id="{63C5D871-42B2-495B-8711-9CBA4C4856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8489" y="1104208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Resultado de imagem para puzzle">
            <a:extLst>
              <a:ext uri="{FF2B5EF4-FFF2-40B4-BE49-F238E27FC236}">
                <a16:creationId xmlns:a16="http://schemas.microsoft.com/office/drawing/2014/main" id="{1134C6D2-2A1E-4661-9F9C-2BF3B95FB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2986" y="332020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C265C6F1-4D42-416F-8F1E-EF253EA67D6E}"/>
              </a:ext>
            </a:extLst>
          </p:cNvPr>
          <p:cNvSpPr txBox="1"/>
          <p:nvPr/>
        </p:nvSpPr>
        <p:spPr>
          <a:xfrm>
            <a:off x="4665034" y="2039503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PRODUTIVIDA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663FA14E-7742-4F0A-B3D9-A67C709D8808}"/>
              </a:ext>
            </a:extLst>
          </p:cNvPr>
          <p:cNvSpPr txBox="1"/>
          <p:nvPr/>
        </p:nvSpPr>
        <p:spPr>
          <a:xfrm>
            <a:off x="6639758" y="1478902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SAÚDE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9D93506-85BA-4D04-9DBA-6EF16EE06349}"/>
              </a:ext>
            </a:extLst>
          </p:cNvPr>
          <p:cNvSpPr txBox="1"/>
          <p:nvPr/>
        </p:nvSpPr>
        <p:spPr>
          <a:xfrm>
            <a:off x="6340908" y="2825727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TURISM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4A34C13B-3D75-4FFB-8C78-5ABE260D3F23}"/>
              </a:ext>
            </a:extLst>
          </p:cNvPr>
          <p:cNvSpPr txBox="1"/>
          <p:nvPr/>
        </p:nvSpPr>
        <p:spPr>
          <a:xfrm>
            <a:off x="4861431" y="3711739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EDUC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3" name="Picture 2" descr="Resultado de imagem para puzzle">
            <a:extLst>
              <a:ext uri="{FF2B5EF4-FFF2-40B4-BE49-F238E27FC236}">
                <a16:creationId xmlns:a16="http://schemas.microsoft.com/office/drawing/2014/main" id="{67112141-0D2A-4A0C-82D2-ED8D11A800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9216" y="1945476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CaixaDeTexto 23">
            <a:extLst>
              <a:ext uri="{FF2B5EF4-FFF2-40B4-BE49-F238E27FC236}">
                <a16:creationId xmlns:a16="http://schemas.microsoft.com/office/drawing/2014/main" id="{83455E5F-1495-4567-AEE2-CA8D540FAEA8}"/>
              </a:ext>
            </a:extLst>
          </p:cNvPr>
          <p:cNvSpPr txBox="1"/>
          <p:nvPr/>
        </p:nvSpPr>
        <p:spPr>
          <a:xfrm>
            <a:off x="7956376" y="2355726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OUTROS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pic>
        <p:nvPicPr>
          <p:cNvPr id="25" name="Picture 2" descr="Resultado de imagem para puzzle">
            <a:extLst>
              <a:ext uri="{FF2B5EF4-FFF2-40B4-BE49-F238E27FC236}">
                <a16:creationId xmlns:a16="http://schemas.microsoft.com/office/drawing/2014/main" id="{DDAE0CBE-8D41-49F8-9A39-3051EEE052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545" y="3192440"/>
            <a:ext cx="1515047" cy="1168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4F0F4722-0F74-45E4-B5B3-EECD5C8776F7}"/>
              </a:ext>
            </a:extLst>
          </p:cNvPr>
          <p:cNvSpPr txBox="1"/>
          <p:nvPr/>
        </p:nvSpPr>
        <p:spPr>
          <a:xfrm>
            <a:off x="7690657" y="3568858"/>
            <a:ext cx="1935832" cy="314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pt-BR" sz="1050" spc="5" dirty="0">
                <a:solidFill>
                  <a:schemeClr val="accent1">
                    <a:lumMod val="75000"/>
                  </a:schemeClr>
                </a:solidFill>
                <a:latin typeface="Trebuchet MS" panose="020B0603020202020204" pitchFamily="34" charset="0"/>
              </a:rPr>
              <a:t>HABITAÇÃO</a:t>
            </a:r>
            <a:endParaRPr lang="pt-BR" sz="1050" spc="5" dirty="0">
              <a:solidFill>
                <a:srgbClr val="00A8AB"/>
              </a:solidFill>
              <a:latin typeface="Century Gothic"/>
            </a:endParaRPr>
          </a:p>
        </p:txBody>
      </p:sp>
      <p:sp>
        <p:nvSpPr>
          <p:cNvPr id="2" name="Balão de Fala: Retângulo com Cantos Arredondados 1">
            <a:extLst>
              <a:ext uri="{FF2B5EF4-FFF2-40B4-BE49-F238E27FC236}">
                <a16:creationId xmlns:a16="http://schemas.microsoft.com/office/drawing/2014/main" id="{992726CB-8C11-4BAF-981A-EE8147453AC5}"/>
              </a:ext>
            </a:extLst>
          </p:cNvPr>
          <p:cNvSpPr/>
          <p:nvPr/>
        </p:nvSpPr>
        <p:spPr>
          <a:xfrm>
            <a:off x="5430563" y="1571785"/>
            <a:ext cx="1816256" cy="2008077"/>
          </a:xfrm>
          <a:prstGeom prst="wedgeRoundRectCallout">
            <a:avLst>
              <a:gd name="adj1" fmla="val 92603"/>
              <a:gd name="adj2" fmla="val -1591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pt-BR" sz="1000" dirty="0">
                <a:solidFill>
                  <a:schemeClr val="tx1"/>
                </a:solidFill>
                <a:latin typeface="Myriad Pro"/>
              </a:rPr>
              <a:t>Os investimentos na instalação das rendes de distribuição de água e de coleta e tratamento de esgoto geram </a:t>
            </a:r>
            <a:r>
              <a:rPr lang="pt-BR" sz="1000" b="1" dirty="0">
                <a:solidFill>
                  <a:schemeClr val="tx1"/>
                </a:solidFill>
                <a:latin typeface="Myriad Pro"/>
              </a:rPr>
              <a:t>empregos, renda e impostos</a:t>
            </a:r>
            <a:r>
              <a:rPr lang="pt-BR" sz="1000" dirty="0">
                <a:solidFill>
                  <a:schemeClr val="tx1"/>
                </a:solidFill>
                <a:latin typeface="Myriad Pro"/>
              </a:rPr>
              <a:t>, algo que perdura durante o período de operação </a:t>
            </a:r>
          </a:p>
        </p:txBody>
      </p:sp>
    </p:spTree>
    <p:extLst>
      <p:ext uri="{BB962C8B-B14F-4D97-AF65-F5344CB8AC3E}">
        <p14:creationId xmlns:p14="http://schemas.microsoft.com/office/powerpoint/2010/main" val="2356560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amnmBfYESiEz3mqsYe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amnmBfYESiEz3mqsYedg"/>
</p:tagLst>
</file>

<file path=ppt/theme/theme1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0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86</TotalTime>
  <Words>1137</Words>
  <Application>Microsoft Office PowerPoint</Application>
  <PresentationFormat>Apresentação na tela (16:9)</PresentationFormat>
  <Paragraphs>239</Paragraphs>
  <Slides>21</Slides>
  <Notes>2</Notes>
  <HiddenSlides>0</HiddenSlides>
  <MMClips>0</MMClips>
  <ScaleCrop>false</ScaleCrop>
  <HeadingPairs>
    <vt:vector size="6" baseType="variant">
      <vt:variant>
        <vt:lpstr>Fontes usadas</vt:lpstr>
      </vt:variant>
      <vt:variant>
        <vt:i4>7</vt:i4>
      </vt:variant>
      <vt:variant>
        <vt:lpstr>Tema</vt:lpstr>
      </vt:variant>
      <vt:variant>
        <vt:i4>5</vt:i4>
      </vt:variant>
      <vt:variant>
        <vt:lpstr>Títulos de slides</vt:lpstr>
      </vt:variant>
      <vt:variant>
        <vt:i4>21</vt:i4>
      </vt:variant>
    </vt:vector>
  </HeadingPairs>
  <TitlesOfParts>
    <vt:vector size="33" baseType="lpstr">
      <vt:lpstr>Arial</vt:lpstr>
      <vt:lpstr>Cabin</vt:lpstr>
      <vt:lpstr>Calibri</vt:lpstr>
      <vt:lpstr>Century Gothic</vt:lpstr>
      <vt:lpstr>Myriad Pro</vt:lpstr>
      <vt:lpstr>Trebuchet MS</vt:lpstr>
      <vt:lpstr>Wingdings</vt:lpstr>
      <vt:lpstr>1_Tema do Office</vt:lpstr>
      <vt:lpstr>1_Personalizar design</vt:lpstr>
      <vt:lpstr>Personalizar design</vt:lpstr>
      <vt:lpstr>20_Personalizar design</vt:lpstr>
      <vt:lpstr>4_Personalizar design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Raphael Ramos Ono</dc:creator>
  <cp:lastModifiedBy>Natália Prétola Silvério de Mendonça</cp:lastModifiedBy>
  <cp:revision>686</cp:revision>
  <cp:lastPrinted>2018-10-08T18:03:57Z</cp:lastPrinted>
  <dcterms:created xsi:type="dcterms:W3CDTF">2018-03-29T14:09:12Z</dcterms:created>
  <dcterms:modified xsi:type="dcterms:W3CDTF">2018-10-09T15:10:58Z</dcterms:modified>
</cp:coreProperties>
</file>